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2" r:id="rId4"/>
    <p:sldMasterId id="2147483688" r:id="rId5"/>
  </p:sldMasterIdLst>
  <p:notesMasterIdLst>
    <p:notesMasterId r:id="rId8"/>
  </p:notesMasterIdLst>
  <p:sldIdLst>
    <p:sldId id="4888" r:id="rId6"/>
    <p:sldId id="4889" r:id="rId7"/>
  </p:sldIdLst>
  <p:sldSz cx="6858000" cy="9906000" type="A4"/>
  <p:notesSz cx="6858000" cy="9144000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6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ziz Abdellatif" initials="AA" lastIdx="1" clrIdx="0">
    <p:extLst>
      <p:ext uri="{19B8F6BF-5375-455C-9EA6-DF929625EA0E}">
        <p15:presenceInfo xmlns:p15="http://schemas.microsoft.com/office/powerpoint/2012/main" userId="S::Aziz.Abdellatif@tn.ey.com::ec253b0a-6b3d-42e9-bc1c-872ec9fc18c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7E7"/>
    <a:srgbClr val="F2F2F2"/>
    <a:srgbClr val="FFE600"/>
    <a:srgbClr val="27ACAA"/>
    <a:srgbClr val="CEF4F3"/>
    <a:srgbClr val="626261"/>
    <a:srgbClr val="FFF2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D02CA6C-C8B7-D91D-AA0B-A04B4C16A80F}" v="44" dt="2024-02-08T09:43:40.475"/>
    <p1510:client id="{C70DF59D-06C7-49F0-A4DE-C95EBAFBC646}" v="87" dt="2024-02-07T11:27:02.5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EBBBCC-DAD2-459C-BE2E-F6DE35CF9A28}" styleName="Style foncé 2 - Accentuation 3/Accentuation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344D84-9AFB-497E-A393-DC336BA19D2E}" styleName="Style moyen 3 - Accentuation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EC20E35-A176-4012-BC5E-935CFFF8708E}" styleName="Style moyen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195" autoAdjust="0"/>
    <p:restoredTop sz="96357" autoAdjust="0"/>
  </p:normalViewPr>
  <p:slideViewPr>
    <p:cSldViewPr snapToGrid="0">
      <p:cViewPr>
        <p:scale>
          <a:sx n="73" d="100"/>
          <a:sy n="73" d="100"/>
        </p:scale>
        <p:origin x="3528" y="120"/>
      </p:cViewPr>
      <p:guideLst>
        <p:guide orient="horz" pos="1646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5/10/relationships/revisionInfo" Target="revisionInfo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378693-088A-4EB0-93F0-5AA4C0FB7BE5}" type="datetimeFigureOut">
              <a:rPr lang="en-GB" smtClean="0"/>
              <a:t>12/02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60613" y="1143000"/>
            <a:ext cx="21367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97C209-9420-429B-A640-FCC7665640E9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62177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E1CC570-1166-44E2-A590-9CECFACB55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4142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73" imgH="476" progId="TCLayout.ActiveDocument.1">
                  <p:embed/>
                </p:oleObj>
              </mc:Choice>
              <mc:Fallback>
                <p:oleObj name="Diapositive think-cell" r:id="rId3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E1CC570-1166-44E2-A590-9CECFACB55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6" name="Picture 315">
            <a:extLst>
              <a:ext uri="{FF2B5EF4-FFF2-40B4-BE49-F238E27FC236}">
                <a16:creationId xmlns:a16="http://schemas.microsoft.com/office/drawing/2014/main" id="{DC9E5312-224B-4A25-8E88-3123C89AE39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2035" y="-145775"/>
            <a:ext cx="7195931" cy="10257183"/>
          </a:xfrm>
          <a:prstGeom prst="rect">
            <a:avLst/>
          </a:prstGeom>
        </p:spPr>
      </p:pic>
      <p:grpSp>
        <p:nvGrpSpPr>
          <p:cNvPr id="162" name="Group 161">
            <a:extLst>
              <a:ext uri="{FF2B5EF4-FFF2-40B4-BE49-F238E27FC236}">
                <a16:creationId xmlns:a16="http://schemas.microsoft.com/office/drawing/2014/main" id="{D8CD0D65-FEF9-4E57-9709-F3EF551D7A09}"/>
              </a:ext>
            </a:extLst>
          </p:cNvPr>
          <p:cNvGrpSpPr/>
          <p:nvPr userDrawn="1"/>
        </p:nvGrpSpPr>
        <p:grpSpPr>
          <a:xfrm>
            <a:off x="359756" y="9064622"/>
            <a:ext cx="2693697" cy="431066"/>
            <a:chOff x="359756" y="8667056"/>
            <a:chExt cx="2693697" cy="431065"/>
          </a:xfrm>
        </p:grpSpPr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883B0EE0-AF92-429E-80BA-55C4BDAFE1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59756" y="8667056"/>
              <a:ext cx="69038" cy="73821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64" name="Rectangle 6">
              <a:extLst>
                <a:ext uri="{FF2B5EF4-FFF2-40B4-BE49-F238E27FC236}">
                  <a16:creationId xmlns:a16="http://schemas.microsoft.com/office/drawing/2014/main" id="{ADF3E38B-46D8-426F-BC71-1A15CFA6C8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5410" y="8667056"/>
              <a:ext cx="69038" cy="73821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65" name="Rectangle 7">
              <a:extLst>
                <a:ext uri="{FF2B5EF4-FFF2-40B4-BE49-F238E27FC236}">
                  <a16:creationId xmlns:a16="http://schemas.microsoft.com/office/drawing/2014/main" id="{46E8CB7F-6191-439E-AE00-9CA06240D0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2275" y="8667056"/>
              <a:ext cx="69038" cy="73821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66" name="Freeform 8">
              <a:extLst>
                <a:ext uri="{FF2B5EF4-FFF2-40B4-BE49-F238E27FC236}">
                  <a16:creationId xmlns:a16="http://schemas.microsoft.com/office/drawing/2014/main" id="{62498205-A1F3-4270-849D-BCFDB9F9B9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756" y="8841064"/>
              <a:ext cx="65405" cy="9886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67" name="Freeform 9">
              <a:extLst>
                <a:ext uri="{FF2B5EF4-FFF2-40B4-BE49-F238E27FC236}">
                  <a16:creationId xmlns:a16="http://schemas.microsoft.com/office/drawing/2014/main" id="{C93F0EB4-A556-41CF-BDF9-960F2D99F0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7273" y="8835790"/>
              <a:ext cx="54504" cy="104141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68" name="Freeform 10">
              <a:extLst>
                <a:ext uri="{FF2B5EF4-FFF2-40B4-BE49-F238E27FC236}">
                  <a16:creationId xmlns:a16="http://schemas.microsoft.com/office/drawing/2014/main" id="{8907F5FF-3B0A-4633-97B7-1391ACD614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03889" y="8864792"/>
              <a:ext cx="59349" cy="76458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69" name="Freeform 11">
              <a:extLst>
                <a:ext uri="{FF2B5EF4-FFF2-40B4-BE49-F238E27FC236}">
                  <a16:creationId xmlns:a16="http://schemas.microsoft.com/office/drawing/2014/main" id="{970651C8-43EF-4698-A329-799DAE72F0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9262" y="8835790"/>
              <a:ext cx="58137" cy="105459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70" name="Freeform 12">
              <a:extLst>
                <a:ext uri="{FF2B5EF4-FFF2-40B4-BE49-F238E27FC236}">
                  <a16:creationId xmlns:a16="http://schemas.microsoft.com/office/drawing/2014/main" id="{296D4299-F433-4329-AB44-774006FAC4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78301" y="8864792"/>
              <a:ext cx="58137" cy="76458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71" name="Freeform 13">
              <a:extLst>
                <a:ext uri="{FF2B5EF4-FFF2-40B4-BE49-F238E27FC236}">
                  <a16:creationId xmlns:a16="http://schemas.microsoft.com/office/drawing/2014/main" id="{883095FB-F7A6-42D9-87B8-A002E74F97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3705" y="8835790"/>
              <a:ext cx="38758" cy="105459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72" name="Freeform 14">
              <a:extLst>
                <a:ext uri="{FF2B5EF4-FFF2-40B4-BE49-F238E27FC236}">
                  <a16:creationId xmlns:a16="http://schemas.microsoft.com/office/drawing/2014/main" id="{67A38AC5-A84D-4F29-9801-0DFAE52440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0941" y="8835790"/>
              <a:ext cx="38758" cy="105459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73" name="Freeform 15">
              <a:extLst>
                <a:ext uri="{FF2B5EF4-FFF2-40B4-BE49-F238E27FC236}">
                  <a16:creationId xmlns:a16="http://schemas.microsoft.com/office/drawing/2014/main" id="{0F38E29B-B091-4605-85A3-15EA84B46A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40600" y="8864792"/>
              <a:ext cx="58137" cy="76458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74" name="Freeform 16">
              <a:extLst>
                <a:ext uri="{FF2B5EF4-FFF2-40B4-BE49-F238E27FC236}">
                  <a16:creationId xmlns:a16="http://schemas.microsoft.com/office/drawing/2014/main" id="{C870BFF6-AC57-4E3B-AFFF-0670C3E30A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3272" y="8864792"/>
              <a:ext cx="38758" cy="75139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75" name="Freeform 17">
              <a:extLst>
                <a:ext uri="{FF2B5EF4-FFF2-40B4-BE49-F238E27FC236}">
                  <a16:creationId xmlns:a16="http://schemas.microsoft.com/office/drawing/2014/main" id="{C32A2981-835F-4F70-9259-D72A7269DF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89" y="8835790"/>
              <a:ext cx="38758" cy="105459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76" name="Freeform 18">
              <a:extLst>
                <a:ext uri="{FF2B5EF4-FFF2-40B4-BE49-F238E27FC236}">
                  <a16:creationId xmlns:a16="http://schemas.microsoft.com/office/drawing/2014/main" id="{AA14E253-8DD6-40F9-8AE1-A23586D6B8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292" y="8835790"/>
              <a:ext cx="55715" cy="104141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77" name="Freeform 19">
              <a:extLst>
                <a:ext uri="{FF2B5EF4-FFF2-40B4-BE49-F238E27FC236}">
                  <a16:creationId xmlns:a16="http://schemas.microsoft.com/office/drawing/2014/main" id="{EF558ED4-4DE7-4328-A97A-AB384F7FB0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13119" y="8864792"/>
              <a:ext cx="58137" cy="76458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78" name="Freeform 20">
              <a:extLst>
                <a:ext uri="{FF2B5EF4-FFF2-40B4-BE49-F238E27FC236}">
                  <a16:creationId xmlns:a16="http://schemas.microsoft.com/office/drawing/2014/main" id="{918AE6BA-5D29-49D1-BD69-3517F38B43F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16071" y="8864792"/>
              <a:ext cx="55715" cy="101504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79" name="Freeform 21">
              <a:extLst>
                <a:ext uri="{FF2B5EF4-FFF2-40B4-BE49-F238E27FC236}">
                  <a16:creationId xmlns:a16="http://schemas.microsoft.com/office/drawing/2014/main" id="{37884708-68AE-4C0F-B0EB-9E137C29FA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8743" y="8864792"/>
              <a:ext cx="54504" cy="76458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80" name="Freeform 22">
              <a:extLst>
                <a:ext uri="{FF2B5EF4-FFF2-40B4-BE49-F238E27FC236}">
                  <a16:creationId xmlns:a16="http://schemas.microsoft.com/office/drawing/2014/main" id="{13FECA83-4462-4D11-BF98-DC015E0EB5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57780" y="8864792"/>
              <a:ext cx="58137" cy="76458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81" name="Freeform 23">
              <a:extLst>
                <a:ext uri="{FF2B5EF4-FFF2-40B4-BE49-F238E27FC236}">
                  <a16:creationId xmlns:a16="http://schemas.microsoft.com/office/drawing/2014/main" id="{F8139FD1-8C42-4BBA-928F-9BBC6465C8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24396" y="8864792"/>
              <a:ext cx="50870" cy="76458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82" name="Freeform 24">
              <a:extLst>
                <a:ext uri="{FF2B5EF4-FFF2-40B4-BE49-F238E27FC236}">
                  <a16:creationId xmlns:a16="http://schemas.microsoft.com/office/drawing/2014/main" id="{69324E96-6DF7-43F4-8F6C-B492C8144E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4956" y="8835790"/>
              <a:ext cx="38758" cy="105459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83" name="Freeform 25">
              <a:extLst>
                <a:ext uri="{FF2B5EF4-FFF2-40B4-BE49-F238E27FC236}">
                  <a16:creationId xmlns:a16="http://schemas.microsoft.com/office/drawing/2014/main" id="{345F362C-E4B8-41A6-8864-424DF4DC14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38248" y="8837110"/>
              <a:ext cx="16957" cy="102823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84" name="Freeform 26">
              <a:extLst>
                <a:ext uri="{FF2B5EF4-FFF2-40B4-BE49-F238E27FC236}">
                  <a16:creationId xmlns:a16="http://schemas.microsoft.com/office/drawing/2014/main" id="{A3DC6839-A20F-405C-BE77-50CB27D664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67317" y="8864792"/>
              <a:ext cx="60560" cy="76458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85" name="Freeform 27">
              <a:extLst>
                <a:ext uri="{FF2B5EF4-FFF2-40B4-BE49-F238E27FC236}">
                  <a16:creationId xmlns:a16="http://schemas.microsoft.com/office/drawing/2014/main" id="{68B51AB7-EE27-405C-9DD1-0DB1E50DEA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2411" y="8864792"/>
              <a:ext cx="54504" cy="75139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86" name="Freeform 28">
              <a:extLst>
                <a:ext uri="{FF2B5EF4-FFF2-40B4-BE49-F238E27FC236}">
                  <a16:creationId xmlns:a16="http://schemas.microsoft.com/office/drawing/2014/main" id="{B748E21B-ED5F-483F-B776-BC1E20439F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12660" y="8918840"/>
              <a:ext cx="21802" cy="22410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87" name="Freeform 29">
              <a:extLst>
                <a:ext uri="{FF2B5EF4-FFF2-40B4-BE49-F238E27FC236}">
                  <a16:creationId xmlns:a16="http://schemas.microsoft.com/office/drawing/2014/main" id="{61D96BFD-C72E-450A-AC26-90B6F7FFAB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8065" y="8841064"/>
              <a:ext cx="67827" cy="9886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88" name="Freeform 30">
              <a:extLst>
                <a:ext uri="{FF2B5EF4-FFF2-40B4-BE49-F238E27FC236}">
                  <a16:creationId xmlns:a16="http://schemas.microsoft.com/office/drawing/2014/main" id="{7B9905D3-85F3-4FFC-80E7-A3EAEBC679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55581" y="8835790"/>
              <a:ext cx="55715" cy="104141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89" name="Freeform 31">
              <a:extLst>
                <a:ext uri="{FF2B5EF4-FFF2-40B4-BE49-F238E27FC236}">
                  <a16:creationId xmlns:a16="http://schemas.microsoft.com/office/drawing/2014/main" id="{5F894B9E-89D2-42A4-B9B0-118F8F843C2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24620" y="8864792"/>
              <a:ext cx="59349" cy="76458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90" name="Freeform 32">
              <a:extLst>
                <a:ext uri="{FF2B5EF4-FFF2-40B4-BE49-F238E27FC236}">
                  <a16:creationId xmlns:a16="http://schemas.microsoft.com/office/drawing/2014/main" id="{FE0EEAB1-2870-46B4-B8C7-13748868FF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29993" y="8835790"/>
              <a:ext cx="55715" cy="105459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91" name="Freeform 33">
              <a:extLst>
                <a:ext uri="{FF2B5EF4-FFF2-40B4-BE49-F238E27FC236}">
                  <a16:creationId xmlns:a16="http://schemas.microsoft.com/office/drawing/2014/main" id="{86EFB31A-9D60-4F02-BD20-A053E46BD6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96609" y="8864792"/>
              <a:ext cx="58137" cy="76458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92" name="Freeform 34">
              <a:extLst>
                <a:ext uri="{FF2B5EF4-FFF2-40B4-BE49-F238E27FC236}">
                  <a16:creationId xmlns:a16="http://schemas.microsoft.com/office/drawing/2014/main" id="{7D0FF6A9-D7E2-411E-BEAB-B8876DDB70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64436" y="8835790"/>
              <a:ext cx="38758" cy="105459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93" name="Freeform 35">
              <a:extLst>
                <a:ext uri="{FF2B5EF4-FFF2-40B4-BE49-F238E27FC236}">
                  <a16:creationId xmlns:a16="http://schemas.microsoft.com/office/drawing/2014/main" id="{CAFE3F05-57C1-4A8B-AF01-D477A6ECDE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11673" y="8835790"/>
              <a:ext cx="38758" cy="105459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94" name="Freeform 36">
              <a:extLst>
                <a:ext uri="{FF2B5EF4-FFF2-40B4-BE49-F238E27FC236}">
                  <a16:creationId xmlns:a16="http://schemas.microsoft.com/office/drawing/2014/main" id="{8C5A26C3-E322-4ECE-A172-DB1EF9FB77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60120" y="8864792"/>
              <a:ext cx="58137" cy="76458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95" name="Freeform 37">
              <a:extLst>
                <a:ext uri="{FF2B5EF4-FFF2-40B4-BE49-F238E27FC236}">
                  <a16:creationId xmlns:a16="http://schemas.microsoft.com/office/drawing/2014/main" id="{BF254D27-0934-4678-ABAD-9F5F61FB46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31581" y="8864792"/>
              <a:ext cx="41180" cy="75139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96" name="Freeform 38">
              <a:extLst>
                <a:ext uri="{FF2B5EF4-FFF2-40B4-BE49-F238E27FC236}">
                  <a16:creationId xmlns:a16="http://schemas.microsoft.com/office/drawing/2014/main" id="{947968EE-D75A-4A3F-ACF1-8532E73DE9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11520" y="8835790"/>
              <a:ext cx="38758" cy="105459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97" name="Freeform 39">
              <a:extLst>
                <a:ext uri="{FF2B5EF4-FFF2-40B4-BE49-F238E27FC236}">
                  <a16:creationId xmlns:a16="http://schemas.microsoft.com/office/drawing/2014/main" id="{01592805-7E73-44E1-8176-4DFB4627B2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6024" y="8835790"/>
              <a:ext cx="55715" cy="104141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98" name="Freeform 40">
              <a:extLst>
                <a:ext uri="{FF2B5EF4-FFF2-40B4-BE49-F238E27FC236}">
                  <a16:creationId xmlns:a16="http://schemas.microsoft.com/office/drawing/2014/main" id="{FF2955E6-8E17-4BE1-A050-A6520774512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33850" y="8864792"/>
              <a:ext cx="58137" cy="76458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99" name="Freeform 41">
              <a:extLst>
                <a:ext uri="{FF2B5EF4-FFF2-40B4-BE49-F238E27FC236}">
                  <a16:creationId xmlns:a16="http://schemas.microsoft.com/office/drawing/2014/main" id="{B201EA84-5FB1-4AE6-ABDE-110A9D6160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34380" y="8864792"/>
              <a:ext cx="56926" cy="76458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00" name="Freeform 42">
              <a:extLst>
                <a:ext uri="{FF2B5EF4-FFF2-40B4-BE49-F238E27FC236}">
                  <a16:creationId xmlns:a16="http://schemas.microsoft.com/office/drawing/2014/main" id="{17D3C54B-13D2-4543-B988-C23E8252F5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7052" y="8864792"/>
              <a:ext cx="54504" cy="75139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01" name="Freeform 43">
              <a:extLst>
                <a:ext uri="{FF2B5EF4-FFF2-40B4-BE49-F238E27FC236}">
                  <a16:creationId xmlns:a16="http://schemas.microsoft.com/office/drawing/2014/main" id="{3C9DB3F7-3800-4A5D-99D9-9BF0A590A5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4879" y="8864792"/>
              <a:ext cx="50870" cy="76458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02" name="Freeform 44">
              <a:extLst>
                <a:ext uri="{FF2B5EF4-FFF2-40B4-BE49-F238E27FC236}">
                  <a16:creationId xmlns:a16="http://schemas.microsoft.com/office/drawing/2014/main" id="{E2DBA4C6-8661-4611-B743-2F975CF630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33016" y="8864792"/>
              <a:ext cx="84784" cy="75139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03" name="Freeform 45">
              <a:extLst>
                <a:ext uri="{FF2B5EF4-FFF2-40B4-BE49-F238E27FC236}">
                  <a16:creationId xmlns:a16="http://schemas.microsoft.com/office/drawing/2014/main" id="{573FA119-7B4C-42E8-ACEF-C1819AB3F0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25066" y="8864792"/>
              <a:ext cx="58137" cy="76458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04" name="Freeform 46">
              <a:extLst>
                <a:ext uri="{FF2B5EF4-FFF2-40B4-BE49-F238E27FC236}">
                  <a16:creationId xmlns:a16="http://schemas.microsoft.com/office/drawing/2014/main" id="{B0358BB6-A1A4-4360-8891-C52043E37F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7738" y="8864792"/>
              <a:ext cx="39970" cy="75139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05" name="Freeform 47">
              <a:extLst>
                <a:ext uri="{FF2B5EF4-FFF2-40B4-BE49-F238E27FC236}">
                  <a16:creationId xmlns:a16="http://schemas.microsoft.com/office/drawing/2014/main" id="{4494BD07-58CF-4A13-BDA6-A5E3224561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2862" y="8918840"/>
              <a:ext cx="20591" cy="22410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06" name="Freeform 48">
              <a:extLst>
                <a:ext uri="{FF2B5EF4-FFF2-40B4-BE49-F238E27FC236}">
                  <a16:creationId xmlns:a16="http://schemas.microsoft.com/office/drawing/2014/main" id="{2707FD2A-B3A6-4574-B6F9-0D5525B6EE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756" y="8997935"/>
              <a:ext cx="65405" cy="9886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07" name="Freeform 49">
              <a:extLst>
                <a:ext uri="{FF2B5EF4-FFF2-40B4-BE49-F238E27FC236}">
                  <a16:creationId xmlns:a16="http://schemas.microsoft.com/office/drawing/2014/main" id="{01448889-A86D-4EF7-A59A-336C6BECD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7273" y="8993980"/>
              <a:ext cx="54504" cy="102823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08" name="Freeform 50">
              <a:extLst>
                <a:ext uri="{FF2B5EF4-FFF2-40B4-BE49-F238E27FC236}">
                  <a16:creationId xmlns:a16="http://schemas.microsoft.com/office/drawing/2014/main" id="{63E77F92-5DEB-4A52-A535-F5B3D50F21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03889" y="9020344"/>
              <a:ext cx="59349" cy="77776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09" name="Freeform 51">
              <a:extLst>
                <a:ext uri="{FF2B5EF4-FFF2-40B4-BE49-F238E27FC236}">
                  <a16:creationId xmlns:a16="http://schemas.microsoft.com/office/drawing/2014/main" id="{7CBDEBA0-A4B1-4C5E-80AA-8E4A7CA7683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9262" y="8993980"/>
              <a:ext cx="58137" cy="104141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10" name="Freeform 52">
              <a:extLst>
                <a:ext uri="{FF2B5EF4-FFF2-40B4-BE49-F238E27FC236}">
                  <a16:creationId xmlns:a16="http://schemas.microsoft.com/office/drawing/2014/main" id="{15251791-90B4-480B-A7BF-F7593C14CEB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78301" y="9020344"/>
              <a:ext cx="58137" cy="77776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11" name="Freeform 53">
              <a:extLst>
                <a:ext uri="{FF2B5EF4-FFF2-40B4-BE49-F238E27FC236}">
                  <a16:creationId xmlns:a16="http://schemas.microsoft.com/office/drawing/2014/main" id="{384EE4E7-8BDE-441A-9C6B-AD67980940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3705" y="8993980"/>
              <a:ext cx="38758" cy="104141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12" name="Freeform 54">
              <a:extLst>
                <a:ext uri="{FF2B5EF4-FFF2-40B4-BE49-F238E27FC236}">
                  <a16:creationId xmlns:a16="http://schemas.microsoft.com/office/drawing/2014/main" id="{D822E9B0-4B9D-4E5E-93F1-BC279E29CE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0941" y="8993980"/>
              <a:ext cx="38758" cy="104141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13" name="Freeform 55">
              <a:extLst>
                <a:ext uri="{FF2B5EF4-FFF2-40B4-BE49-F238E27FC236}">
                  <a16:creationId xmlns:a16="http://schemas.microsoft.com/office/drawing/2014/main" id="{082A3D29-7203-426E-98BA-409B67377D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40600" y="9020344"/>
              <a:ext cx="58137" cy="77776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14" name="Freeform 56">
              <a:extLst>
                <a:ext uri="{FF2B5EF4-FFF2-40B4-BE49-F238E27FC236}">
                  <a16:creationId xmlns:a16="http://schemas.microsoft.com/office/drawing/2014/main" id="{9DFF333F-7A46-454F-9E78-4CF7D02126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3272" y="9020344"/>
              <a:ext cx="38758" cy="76458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15" name="Freeform 57">
              <a:extLst>
                <a:ext uri="{FF2B5EF4-FFF2-40B4-BE49-F238E27FC236}">
                  <a16:creationId xmlns:a16="http://schemas.microsoft.com/office/drawing/2014/main" id="{676C59C7-7B30-4224-9C4C-3FDF5F017F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89" y="8993980"/>
              <a:ext cx="38758" cy="104141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16" name="Freeform 58">
              <a:extLst>
                <a:ext uri="{FF2B5EF4-FFF2-40B4-BE49-F238E27FC236}">
                  <a16:creationId xmlns:a16="http://schemas.microsoft.com/office/drawing/2014/main" id="{AE4C3034-782B-48B3-BD8B-822DA07F27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292" y="8993980"/>
              <a:ext cx="55715" cy="102823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17" name="Freeform 59">
              <a:extLst>
                <a:ext uri="{FF2B5EF4-FFF2-40B4-BE49-F238E27FC236}">
                  <a16:creationId xmlns:a16="http://schemas.microsoft.com/office/drawing/2014/main" id="{26A706EB-C111-4B0C-9026-3F307F753A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13119" y="9020344"/>
              <a:ext cx="58137" cy="77776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18" name="Freeform 60">
              <a:extLst>
                <a:ext uri="{FF2B5EF4-FFF2-40B4-BE49-F238E27FC236}">
                  <a16:creationId xmlns:a16="http://schemas.microsoft.com/office/drawing/2014/main" id="{AD5C5520-7B50-44BA-9AC6-FEC461CFC4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3649" y="9022981"/>
              <a:ext cx="84784" cy="73821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19" name="Freeform 61">
              <a:extLst>
                <a:ext uri="{FF2B5EF4-FFF2-40B4-BE49-F238E27FC236}">
                  <a16:creationId xmlns:a16="http://schemas.microsoft.com/office/drawing/2014/main" id="{3EA6272C-2232-4CDB-858D-34C559FEB5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05699" y="9020344"/>
              <a:ext cx="60560" cy="77776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20" name="Freeform 62">
              <a:extLst>
                <a:ext uri="{FF2B5EF4-FFF2-40B4-BE49-F238E27FC236}">
                  <a16:creationId xmlns:a16="http://schemas.microsoft.com/office/drawing/2014/main" id="{243A08C6-21B8-408B-AB96-2AFE9471C7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0793" y="9020344"/>
              <a:ext cx="39970" cy="76458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21" name="Freeform 63">
              <a:extLst>
                <a:ext uri="{FF2B5EF4-FFF2-40B4-BE49-F238E27FC236}">
                  <a16:creationId xmlns:a16="http://schemas.microsoft.com/office/drawing/2014/main" id="{489659D0-0EF4-4E71-B69F-DF372CCBAF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32874" y="8993980"/>
              <a:ext cx="13323" cy="102823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22" name="Freeform 64">
              <a:extLst>
                <a:ext uri="{FF2B5EF4-FFF2-40B4-BE49-F238E27FC236}">
                  <a16:creationId xmlns:a16="http://schemas.microsoft.com/office/drawing/2014/main" id="{2709138E-45EE-45B7-8EB9-F92EC276BFC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461943" y="8993980"/>
              <a:ext cx="55715" cy="104141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23" name="Freeform 65">
              <a:extLst>
                <a:ext uri="{FF2B5EF4-FFF2-40B4-BE49-F238E27FC236}">
                  <a16:creationId xmlns:a16="http://schemas.microsoft.com/office/drawing/2014/main" id="{E9CA0A18-7BEA-4CC8-B58D-00FA803469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62472" y="9022981"/>
              <a:ext cx="84784" cy="73821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24" name="Freeform 66">
              <a:extLst>
                <a:ext uri="{FF2B5EF4-FFF2-40B4-BE49-F238E27FC236}">
                  <a16:creationId xmlns:a16="http://schemas.microsoft.com/office/drawing/2014/main" id="{0F1D1937-64D0-4CBB-9C6B-46017E5720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54523" y="9020344"/>
              <a:ext cx="61771" cy="77776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25" name="Freeform 67">
              <a:extLst>
                <a:ext uri="{FF2B5EF4-FFF2-40B4-BE49-F238E27FC236}">
                  <a16:creationId xmlns:a16="http://schemas.microsoft.com/office/drawing/2014/main" id="{DD9AA293-62AB-49C1-8A4A-224C5A13A2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8406" y="9020344"/>
              <a:ext cx="41180" cy="76458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26" name="Freeform 68">
              <a:extLst>
                <a:ext uri="{FF2B5EF4-FFF2-40B4-BE49-F238E27FC236}">
                  <a16:creationId xmlns:a16="http://schemas.microsoft.com/office/drawing/2014/main" id="{F2004FA3-D0CB-4BCE-BB7B-34799F57B6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699" y="8993980"/>
              <a:ext cx="53292" cy="102823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27" name="Freeform 69">
              <a:extLst>
                <a:ext uri="{FF2B5EF4-FFF2-40B4-BE49-F238E27FC236}">
                  <a16:creationId xmlns:a16="http://schemas.microsoft.com/office/drawing/2014/main" id="{A3BDF6A0-E60A-4281-AF09-5A3CE9402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9836" y="9020344"/>
              <a:ext cx="52082" cy="77776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28" name="Freeform 70">
              <a:extLst>
                <a:ext uri="{FF2B5EF4-FFF2-40B4-BE49-F238E27FC236}">
                  <a16:creationId xmlns:a16="http://schemas.microsoft.com/office/drawing/2014/main" id="{169A7EC5-9AF5-4AE9-BB63-121E5526EB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05241" y="9074393"/>
              <a:ext cx="19379" cy="23728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</p:grpSp>
      <p:grpSp>
        <p:nvGrpSpPr>
          <p:cNvPr id="229" name="Group 4">
            <a:extLst>
              <a:ext uri="{FF2B5EF4-FFF2-40B4-BE49-F238E27FC236}">
                <a16:creationId xmlns:a16="http://schemas.microsoft.com/office/drawing/2014/main" id="{2B3A709E-7444-41CA-BDC3-45A25B443C1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00568" y="8548598"/>
            <a:ext cx="915604" cy="1087690"/>
            <a:chOff x="6529" y="3125"/>
            <a:chExt cx="772" cy="904"/>
          </a:xfrm>
        </p:grpSpPr>
        <p:sp>
          <p:nvSpPr>
            <p:cNvPr id="230" name="Freeform 5">
              <a:extLst>
                <a:ext uri="{FF2B5EF4-FFF2-40B4-BE49-F238E27FC236}">
                  <a16:creationId xmlns:a16="http://schemas.microsoft.com/office/drawing/2014/main" id="{C45E947E-10ED-4B2D-8DB7-A8ABF27918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31" name="Freeform 6">
              <a:extLst>
                <a:ext uri="{FF2B5EF4-FFF2-40B4-BE49-F238E27FC236}">
                  <a16:creationId xmlns:a16="http://schemas.microsoft.com/office/drawing/2014/main" id="{24B580FC-B102-4559-96BD-5BFDFD721B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</p:grpSp>
      <p:grpSp>
        <p:nvGrpSpPr>
          <p:cNvPr id="232" name="Group 231">
            <a:extLst>
              <a:ext uri="{FF2B5EF4-FFF2-40B4-BE49-F238E27FC236}">
                <a16:creationId xmlns:a16="http://schemas.microsoft.com/office/drawing/2014/main" id="{438C8B4C-9272-4493-9EE1-E9F675F246FD}"/>
              </a:ext>
            </a:extLst>
          </p:cNvPr>
          <p:cNvGrpSpPr/>
          <p:nvPr userDrawn="1"/>
        </p:nvGrpSpPr>
        <p:grpSpPr>
          <a:xfrm>
            <a:off x="915188" y="1380986"/>
            <a:ext cx="5027629" cy="3452894"/>
            <a:chOff x="587619" y="705124"/>
            <a:chExt cx="5289253" cy="3452894"/>
          </a:xfrm>
        </p:grpSpPr>
        <p:sp>
          <p:nvSpPr>
            <p:cNvPr id="233" name="Freeform 5">
              <a:extLst>
                <a:ext uri="{FF2B5EF4-FFF2-40B4-BE49-F238E27FC236}">
                  <a16:creationId xmlns:a16="http://schemas.microsoft.com/office/drawing/2014/main" id="{C6B961B5-588B-4AE9-8950-7D639F3BAD4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10800000">
              <a:off x="601682" y="736299"/>
              <a:ext cx="5159161" cy="3395768"/>
            </a:xfrm>
            <a:custGeom>
              <a:avLst/>
              <a:gdLst/>
              <a:ahLst/>
              <a:cxnLst/>
              <a:rect l="l" t="t" r="r" b="b"/>
              <a:pathLst>
                <a:path w="3440112" h="1957814">
                  <a:moveTo>
                    <a:pt x="0" y="1957814"/>
                  </a:moveTo>
                  <a:cubicBezTo>
                    <a:pt x="499" y="1377928"/>
                    <a:pt x="2206" y="690705"/>
                    <a:pt x="3953" y="0"/>
                  </a:cubicBezTo>
                  <a:lnTo>
                    <a:pt x="3436599" y="0"/>
                  </a:lnTo>
                  <a:cubicBezTo>
                    <a:pt x="3436483" y="487966"/>
                    <a:pt x="3436948" y="961062"/>
                    <a:pt x="3440112" y="1359420"/>
                  </a:cubicBezTo>
                  <a:close/>
                </a:path>
              </a:pathLst>
            </a:custGeom>
            <a:solidFill>
              <a:srgbClr val="000000">
                <a:alpha val="30196"/>
              </a:srgbClr>
            </a:solidFill>
            <a:ln w="57150" cap="flat" cmpd="sng" algn="ctr">
              <a:noFill/>
              <a:prstDash val="solid"/>
              <a:headEnd/>
              <a:tailEnd/>
            </a:ln>
            <a:effectLst/>
          </p:spPr>
          <p:txBody>
            <a:bodyPr vert="horz" wrap="square" lIns="86783" tIns="43392" rIns="86783" bIns="4339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8809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cs typeface="Arial"/>
              </a:endParaRPr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AECF1816-287E-4A78-A8CC-4E931FB9532C}"/>
                </a:ext>
              </a:extLst>
            </p:cNvPr>
            <p:cNvSpPr/>
            <p:nvPr userDrawn="1"/>
          </p:nvSpPr>
          <p:spPr>
            <a:xfrm>
              <a:off x="587619" y="705124"/>
              <a:ext cx="5289253" cy="3452894"/>
            </a:xfrm>
            <a:custGeom>
              <a:avLst/>
              <a:gdLst>
                <a:gd name="connsiteX0" fmla="*/ 8749 w 5680945"/>
                <a:gd name="connsiteY0" fmla="*/ 1021520 h 3452894"/>
                <a:gd name="connsiteX1" fmla="*/ 8749 w 5680945"/>
                <a:gd name="connsiteY1" fmla="*/ 3164181 h 3452894"/>
                <a:gd name="connsiteX2" fmla="*/ 151414 w 5680945"/>
                <a:gd name="connsiteY2" fmla="*/ 3164181 h 3452894"/>
                <a:gd name="connsiteX3" fmla="*/ 151414 w 5680945"/>
                <a:gd name="connsiteY3" fmla="*/ 1140155 h 3452894"/>
                <a:gd name="connsiteX4" fmla="*/ 5534897 w 5680945"/>
                <a:gd name="connsiteY4" fmla="*/ 179294 h 3452894"/>
                <a:gd name="connsiteX5" fmla="*/ 5534897 w 5680945"/>
                <a:gd name="connsiteY5" fmla="*/ 3306846 h 3452894"/>
                <a:gd name="connsiteX6" fmla="*/ 864624 w 5680945"/>
                <a:gd name="connsiteY6" fmla="*/ 3306846 h 3452894"/>
                <a:gd name="connsiteX7" fmla="*/ 864624 w 5680945"/>
                <a:gd name="connsiteY7" fmla="*/ 3449395 h 3452894"/>
                <a:gd name="connsiteX8" fmla="*/ 5677562 w 5680945"/>
                <a:gd name="connsiteY8" fmla="*/ 3449395 h 3452894"/>
                <a:gd name="connsiteX9" fmla="*/ 5677562 w 5680945"/>
                <a:gd name="connsiteY9" fmla="*/ 8749 h 3452894"/>
                <a:gd name="connsiteX10" fmla="*/ 8749 w 5680945"/>
                <a:gd name="connsiteY10" fmla="*/ 1021520 h 3452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680945" h="3452894">
                  <a:moveTo>
                    <a:pt x="8749" y="1021520"/>
                  </a:moveTo>
                  <a:lnTo>
                    <a:pt x="8749" y="3164181"/>
                  </a:lnTo>
                  <a:lnTo>
                    <a:pt x="151414" y="3164181"/>
                  </a:lnTo>
                  <a:lnTo>
                    <a:pt x="151414" y="1140155"/>
                  </a:lnTo>
                  <a:lnTo>
                    <a:pt x="5534897" y="179294"/>
                  </a:lnTo>
                  <a:lnTo>
                    <a:pt x="5534897" y="3306846"/>
                  </a:lnTo>
                  <a:lnTo>
                    <a:pt x="864624" y="3306846"/>
                  </a:lnTo>
                  <a:lnTo>
                    <a:pt x="864624" y="3449395"/>
                  </a:lnTo>
                  <a:lnTo>
                    <a:pt x="5677562" y="3449395"/>
                  </a:lnTo>
                  <a:lnTo>
                    <a:pt x="5677562" y="8749"/>
                  </a:lnTo>
                  <a:lnTo>
                    <a:pt x="8749" y="1021520"/>
                  </a:lnTo>
                  <a:close/>
                </a:path>
              </a:pathLst>
            </a:custGeom>
            <a:solidFill>
              <a:srgbClr val="FFE6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355349F0-668C-44C2-8FD6-52FF7985D258}"/>
                </a:ext>
              </a:extLst>
            </p:cNvPr>
            <p:cNvSpPr/>
            <p:nvPr userDrawn="1"/>
          </p:nvSpPr>
          <p:spPr>
            <a:xfrm>
              <a:off x="587619" y="4003221"/>
              <a:ext cx="151647" cy="151647"/>
            </a:xfrm>
            <a:custGeom>
              <a:avLst/>
              <a:gdLst>
                <a:gd name="connsiteX0" fmla="*/ 8749 w 151647"/>
                <a:gd name="connsiteY0" fmla="*/ 8749 h 151647"/>
                <a:gd name="connsiteX1" fmla="*/ 151414 w 151647"/>
                <a:gd name="connsiteY1" fmla="*/ 8749 h 151647"/>
                <a:gd name="connsiteX2" fmla="*/ 151414 w 151647"/>
                <a:gd name="connsiteY2" fmla="*/ 151414 h 151647"/>
                <a:gd name="connsiteX3" fmla="*/ 8749 w 151647"/>
                <a:gd name="connsiteY3" fmla="*/ 151414 h 151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1647" h="151647">
                  <a:moveTo>
                    <a:pt x="8749" y="8749"/>
                  </a:moveTo>
                  <a:lnTo>
                    <a:pt x="151414" y="8749"/>
                  </a:lnTo>
                  <a:lnTo>
                    <a:pt x="151414" y="151414"/>
                  </a:lnTo>
                  <a:lnTo>
                    <a:pt x="8749" y="151414"/>
                  </a:lnTo>
                  <a:close/>
                </a:path>
              </a:pathLst>
            </a:custGeom>
            <a:solidFill>
              <a:srgbClr val="FFE6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17A531C5-0E2A-46F5-BEAC-C54137E492F3}"/>
                </a:ext>
              </a:extLst>
            </p:cNvPr>
            <p:cNvSpPr/>
            <p:nvPr userDrawn="1"/>
          </p:nvSpPr>
          <p:spPr>
            <a:xfrm>
              <a:off x="872949" y="4003221"/>
              <a:ext cx="151647" cy="151647"/>
            </a:xfrm>
            <a:custGeom>
              <a:avLst/>
              <a:gdLst>
                <a:gd name="connsiteX0" fmla="*/ 8749 w 151647"/>
                <a:gd name="connsiteY0" fmla="*/ 8749 h 151647"/>
                <a:gd name="connsiteX1" fmla="*/ 151414 w 151647"/>
                <a:gd name="connsiteY1" fmla="*/ 8749 h 151647"/>
                <a:gd name="connsiteX2" fmla="*/ 151414 w 151647"/>
                <a:gd name="connsiteY2" fmla="*/ 151414 h 151647"/>
                <a:gd name="connsiteX3" fmla="*/ 8749 w 151647"/>
                <a:gd name="connsiteY3" fmla="*/ 151414 h 151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1647" h="151647">
                  <a:moveTo>
                    <a:pt x="8749" y="8749"/>
                  </a:moveTo>
                  <a:lnTo>
                    <a:pt x="151414" y="8749"/>
                  </a:lnTo>
                  <a:lnTo>
                    <a:pt x="151414" y="151414"/>
                  </a:lnTo>
                  <a:lnTo>
                    <a:pt x="8749" y="151414"/>
                  </a:lnTo>
                  <a:close/>
                </a:path>
              </a:pathLst>
            </a:custGeom>
            <a:solidFill>
              <a:srgbClr val="FFE6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70100C2B-BE9F-467B-9690-6B7BFCEDEB90}"/>
                </a:ext>
              </a:extLst>
            </p:cNvPr>
            <p:cNvSpPr/>
            <p:nvPr userDrawn="1"/>
          </p:nvSpPr>
          <p:spPr>
            <a:xfrm>
              <a:off x="1158163" y="4003221"/>
              <a:ext cx="151647" cy="151647"/>
            </a:xfrm>
            <a:custGeom>
              <a:avLst/>
              <a:gdLst>
                <a:gd name="connsiteX0" fmla="*/ 8749 w 151647"/>
                <a:gd name="connsiteY0" fmla="*/ 8749 h 151647"/>
                <a:gd name="connsiteX1" fmla="*/ 151414 w 151647"/>
                <a:gd name="connsiteY1" fmla="*/ 8749 h 151647"/>
                <a:gd name="connsiteX2" fmla="*/ 151414 w 151647"/>
                <a:gd name="connsiteY2" fmla="*/ 151414 h 151647"/>
                <a:gd name="connsiteX3" fmla="*/ 8749 w 151647"/>
                <a:gd name="connsiteY3" fmla="*/ 151414 h 151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1647" h="151647">
                  <a:moveTo>
                    <a:pt x="8749" y="8749"/>
                  </a:moveTo>
                  <a:lnTo>
                    <a:pt x="151414" y="8749"/>
                  </a:lnTo>
                  <a:lnTo>
                    <a:pt x="151414" y="151414"/>
                  </a:lnTo>
                  <a:lnTo>
                    <a:pt x="8749" y="151414"/>
                  </a:lnTo>
                  <a:close/>
                </a:path>
              </a:pathLst>
            </a:custGeom>
            <a:solidFill>
              <a:srgbClr val="FFE6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</p:grpSp>
      <p:grpSp>
        <p:nvGrpSpPr>
          <p:cNvPr id="240" name="Group 239">
            <a:extLst>
              <a:ext uri="{FF2B5EF4-FFF2-40B4-BE49-F238E27FC236}">
                <a16:creationId xmlns:a16="http://schemas.microsoft.com/office/drawing/2014/main" id="{B8EF8266-1C0F-46B5-83DA-5074585421FE}"/>
              </a:ext>
            </a:extLst>
          </p:cNvPr>
          <p:cNvGrpSpPr/>
          <p:nvPr userDrawn="1"/>
        </p:nvGrpSpPr>
        <p:grpSpPr>
          <a:xfrm>
            <a:off x="359756" y="9064622"/>
            <a:ext cx="2693697" cy="431065"/>
            <a:chOff x="359756" y="8667056"/>
            <a:chExt cx="2693697" cy="431065"/>
          </a:xfrm>
        </p:grpSpPr>
        <p:sp>
          <p:nvSpPr>
            <p:cNvPr id="241" name="Rectangle 240">
              <a:extLst>
                <a:ext uri="{FF2B5EF4-FFF2-40B4-BE49-F238E27FC236}">
                  <a16:creationId xmlns:a16="http://schemas.microsoft.com/office/drawing/2014/main" id="{853B71F7-900F-4021-AC74-9B9283381B1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59756" y="8667056"/>
              <a:ext cx="69038" cy="73821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42" name="Rectangle 6">
              <a:extLst>
                <a:ext uri="{FF2B5EF4-FFF2-40B4-BE49-F238E27FC236}">
                  <a16:creationId xmlns:a16="http://schemas.microsoft.com/office/drawing/2014/main" id="{6C7F0CDE-B70E-4976-9553-B036A239DA9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5410" y="8667056"/>
              <a:ext cx="69038" cy="73821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43" name="Rectangle 7">
              <a:extLst>
                <a:ext uri="{FF2B5EF4-FFF2-40B4-BE49-F238E27FC236}">
                  <a16:creationId xmlns:a16="http://schemas.microsoft.com/office/drawing/2014/main" id="{4F7AB002-37B0-42FB-8A85-99700D6EA86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2275" y="8667056"/>
              <a:ext cx="69038" cy="73821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44" name="Freeform 8">
              <a:extLst>
                <a:ext uri="{FF2B5EF4-FFF2-40B4-BE49-F238E27FC236}">
                  <a16:creationId xmlns:a16="http://schemas.microsoft.com/office/drawing/2014/main" id="{92A37FFF-DB42-4E20-A39D-68A48DC30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756" y="8841064"/>
              <a:ext cx="65405" cy="9886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45" name="Freeform 9">
              <a:extLst>
                <a:ext uri="{FF2B5EF4-FFF2-40B4-BE49-F238E27FC236}">
                  <a16:creationId xmlns:a16="http://schemas.microsoft.com/office/drawing/2014/main" id="{00A90730-479F-446D-AF8E-6E925CEB20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7273" y="8835790"/>
              <a:ext cx="54504" cy="104141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46" name="Freeform 10">
              <a:extLst>
                <a:ext uri="{FF2B5EF4-FFF2-40B4-BE49-F238E27FC236}">
                  <a16:creationId xmlns:a16="http://schemas.microsoft.com/office/drawing/2014/main" id="{3906E938-2C5E-440E-97A8-CB5BB21BD2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03889" y="8864792"/>
              <a:ext cx="59349" cy="76458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47" name="Freeform 11">
              <a:extLst>
                <a:ext uri="{FF2B5EF4-FFF2-40B4-BE49-F238E27FC236}">
                  <a16:creationId xmlns:a16="http://schemas.microsoft.com/office/drawing/2014/main" id="{A86E3225-1FBB-4CF6-A7D3-52140F630DB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9262" y="8835790"/>
              <a:ext cx="58137" cy="105459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48" name="Freeform 12">
              <a:extLst>
                <a:ext uri="{FF2B5EF4-FFF2-40B4-BE49-F238E27FC236}">
                  <a16:creationId xmlns:a16="http://schemas.microsoft.com/office/drawing/2014/main" id="{33115D70-AF3C-40D6-844C-DB5040FEB8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78301" y="8864792"/>
              <a:ext cx="58137" cy="76458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49" name="Freeform 13">
              <a:extLst>
                <a:ext uri="{FF2B5EF4-FFF2-40B4-BE49-F238E27FC236}">
                  <a16:creationId xmlns:a16="http://schemas.microsoft.com/office/drawing/2014/main" id="{113DC3B7-4A64-46EF-96BC-EA66821C26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3705" y="8835790"/>
              <a:ext cx="38758" cy="105459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50" name="Freeform 14">
              <a:extLst>
                <a:ext uri="{FF2B5EF4-FFF2-40B4-BE49-F238E27FC236}">
                  <a16:creationId xmlns:a16="http://schemas.microsoft.com/office/drawing/2014/main" id="{3F84D9A7-0DB4-4618-8B33-90CFF902D2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0941" y="8835790"/>
              <a:ext cx="38758" cy="105459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51" name="Freeform 15">
              <a:extLst>
                <a:ext uri="{FF2B5EF4-FFF2-40B4-BE49-F238E27FC236}">
                  <a16:creationId xmlns:a16="http://schemas.microsoft.com/office/drawing/2014/main" id="{DA7C845A-B595-4F4E-AD7A-F9C7FE1FB2B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40600" y="8864792"/>
              <a:ext cx="58137" cy="76458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52" name="Freeform 16">
              <a:extLst>
                <a:ext uri="{FF2B5EF4-FFF2-40B4-BE49-F238E27FC236}">
                  <a16:creationId xmlns:a16="http://schemas.microsoft.com/office/drawing/2014/main" id="{D408ECE4-673C-4E6A-AE22-40D807C641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3272" y="8864792"/>
              <a:ext cx="38758" cy="75139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53" name="Freeform 17">
              <a:extLst>
                <a:ext uri="{FF2B5EF4-FFF2-40B4-BE49-F238E27FC236}">
                  <a16:creationId xmlns:a16="http://schemas.microsoft.com/office/drawing/2014/main" id="{D8333606-665D-4E7C-927E-15704F4307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89" y="8835790"/>
              <a:ext cx="38758" cy="105459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54" name="Freeform 18">
              <a:extLst>
                <a:ext uri="{FF2B5EF4-FFF2-40B4-BE49-F238E27FC236}">
                  <a16:creationId xmlns:a16="http://schemas.microsoft.com/office/drawing/2014/main" id="{C2DEBF17-488A-4549-BAEB-6E956B60B1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292" y="8835790"/>
              <a:ext cx="55715" cy="104141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55" name="Freeform 19">
              <a:extLst>
                <a:ext uri="{FF2B5EF4-FFF2-40B4-BE49-F238E27FC236}">
                  <a16:creationId xmlns:a16="http://schemas.microsoft.com/office/drawing/2014/main" id="{EA367D64-71D5-4210-89D3-BF673E4EE4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13119" y="8864792"/>
              <a:ext cx="58137" cy="76458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56" name="Freeform 20">
              <a:extLst>
                <a:ext uri="{FF2B5EF4-FFF2-40B4-BE49-F238E27FC236}">
                  <a16:creationId xmlns:a16="http://schemas.microsoft.com/office/drawing/2014/main" id="{ECE1DBF6-4309-4259-9C50-5EDC9989B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16071" y="8864792"/>
              <a:ext cx="55715" cy="101504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57" name="Freeform 21">
              <a:extLst>
                <a:ext uri="{FF2B5EF4-FFF2-40B4-BE49-F238E27FC236}">
                  <a16:creationId xmlns:a16="http://schemas.microsoft.com/office/drawing/2014/main" id="{69415BBE-C4C6-438A-852A-9229AC1AA7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8743" y="8864792"/>
              <a:ext cx="54504" cy="76458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58" name="Freeform 22">
              <a:extLst>
                <a:ext uri="{FF2B5EF4-FFF2-40B4-BE49-F238E27FC236}">
                  <a16:creationId xmlns:a16="http://schemas.microsoft.com/office/drawing/2014/main" id="{49A0B2AE-3518-4D45-B236-6E2C55B0EEB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57780" y="8864792"/>
              <a:ext cx="58137" cy="76458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59" name="Freeform 23">
              <a:extLst>
                <a:ext uri="{FF2B5EF4-FFF2-40B4-BE49-F238E27FC236}">
                  <a16:creationId xmlns:a16="http://schemas.microsoft.com/office/drawing/2014/main" id="{0A737F90-8B64-40C6-B5A4-382D060CFD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24396" y="8864792"/>
              <a:ext cx="50870" cy="76458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60" name="Freeform 24">
              <a:extLst>
                <a:ext uri="{FF2B5EF4-FFF2-40B4-BE49-F238E27FC236}">
                  <a16:creationId xmlns:a16="http://schemas.microsoft.com/office/drawing/2014/main" id="{B1F520D1-806B-4F8D-A090-490630C2AA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4956" y="8835790"/>
              <a:ext cx="38758" cy="105459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61" name="Freeform 25">
              <a:extLst>
                <a:ext uri="{FF2B5EF4-FFF2-40B4-BE49-F238E27FC236}">
                  <a16:creationId xmlns:a16="http://schemas.microsoft.com/office/drawing/2014/main" id="{0D875328-4789-4D05-A0B8-572F9D68EF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38248" y="8837110"/>
              <a:ext cx="16957" cy="102823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62" name="Freeform 26">
              <a:extLst>
                <a:ext uri="{FF2B5EF4-FFF2-40B4-BE49-F238E27FC236}">
                  <a16:creationId xmlns:a16="http://schemas.microsoft.com/office/drawing/2014/main" id="{27E72B48-3B29-4E9C-89FF-ADE2348F9D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67317" y="8864792"/>
              <a:ext cx="60560" cy="76458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63" name="Freeform 27">
              <a:extLst>
                <a:ext uri="{FF2B5EF4-FFF2-40B4-BE49-F238E27FC236}">
                  <a16:creationId xmlns:a16="http://schemas.microsoft.com/office/drawing/2014/main" id="{4C152B27-DE0C-4535-9ADE-685E2BF78D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2411" y="8864792"/>
              <a:ext cx="54504" cy="75139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64" name="Freeform 28">
              <a:extLst>
                <a:ext uri="{FF2B5EF4-FFF2-40B4-BE49-F238E27FC236}">
                  <a16:creationId xmlns:a16="http://schemas.microsoft.com/office/drawing/2014/main" id="{ACB66803-5FB7-431D-911E-F168ACBD52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12660" y="8918840"/>
              <a:ext cx="21802" cy="22410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65" name="Freeform 29">
              <a:extLst>
                <a:ext uri="{FF2B5EF4-FFF2-40B4-BE49-F238E27FC236}">
                  <a16:creationId xmlns:a16="http://schemas.microsoft.com/office/drawing/2014/main" id="{795341FB-9399-46B4-8A70-657A68E56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78065" y="8841064"/>
              <a:ext cx="67827" cy="9886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66" name="Freeform 30">
              <a:extLst>
                <a:ext uri="{FF2B5EF4-FFF2-40B4-BE49-F238E27FC236}">
                  <a16:creationId xmlns:a16="http://schemas.microsoft.com/office/drawing/2014/main" id="{95B99C47-E968-4081-85BC-20556E03A3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55581" y="8835790"/>
              <a:ext cx="55715" cy="104141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67" name="Freeform 31">
              <a:extLst>
                <a:ext uri="{FF2B5EF4-FFF2-40B4-BE49-F238E27FC236}">
                  <a16:creationId xmlns:a16="http://schemas.microsoft.com/office/drawing/2014/main" id="{F87D1284-3A13-47C8-AC07-B4CC2C95254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24620" y="8864792"/>
              <a:ext cx="59349" cy="76458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68" name="Freeform 32">
              <a:extLst>
                <a:ext uri="{FF2B5EF4-FFF2-40B4-BE49-F238E27FC236}">
                  <a16:creationId xmlns:a16="http://schemas.microsoft.com/office/drawing/2014/main" id="{81C90DB0-BEE2-43A2-A840-051B104E681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29993" y="8835790"/>
              <a:ext cx="55715" cy="105459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69" name="Freeform 33">
              <a:extLst>
                <a:ext uri="{FF2B5EF4-FFF2-40B4-BE49-F238E27FC236}">
                  <a16:creationId xmlns:a16="http://schemas.microsoft.com/office/drawing/2014/main" id="{D2D1A54D-9080-4C83-9DB9-9E6ECFEEF63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96609" y="8864792"/>
              <a:ext cx="58137" cy="76458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70" name="Freeform 34">
              <a:extLst>
                <a:ext uri="{FF2B5EF4-FFF2-40B4-BE49-F238E27FC236}">
                  <a16:creationId xmlns:a16="http://schemas.microsoft.com/office/drawing/2014/main" id="{9273B754-8C9C-461E-84AD-D26EF23876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64436" y="8835790"/>
              <a:ext cx="38758" cy="105459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71" name="Freeform 35">
              <a:extLst>
                <a:ext uri="{FF2B5EF4-FFF2-40B4-BE49-F238E27FC236}">
                  <a16:creationId xmlns:a16="http://schemas.microsoft.com/office/drawing/2014/main" id="{884FC6C0-3CB3-40C4-90A2-5751F1096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11673" y="8835790"/>
              <a:ext cx="38758" cy="105459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72" name="Freeform 36">
              <a:extLst>
                <a:ext uri="{FF2B5EF4-FFF2-40B4-BE49-F238E27FC236}">
                  <a16:creationId xmlns:a16="http://schemas.microsoft.com/office/drawing/2014/main" id="{3F03E88C-9649-42AF-82AF-6DC6B9D344B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60120" y="8864792"/>
              <a:ext cx="58137" cy="76458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73" name="Freeform 37">
              <a:extLst>
                <a:ext uri="{FF2B5EF4-FFF2-40B4-BE49-F238E27FC236}">
                  <a16:creationId xmlns:a16="http://schemas.microsoft.com/office/drawing/2014/main" id="{9B8DFD6F-A90C-41B6-B132-CF04E5E208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31581" y="8864792"/>
              <a:ext cx="41180" cy="75139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74" name="Freeform 38">
              <a:extLst>
                <a:ext uri="{FF2B5EF4-FFF2-40B4-BE49-F238E27FC236}">
                  <a16:creationId xmlns:a16="http://schemas.microsoft.com/office/drawing/2014/main" id="{6BCE0AC8-37FD-47A7-9220-F210A5FE77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11520" y="8835790"/>
              <a:ext cx="38758" cy="105459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75" name="Freeform 39">
              <a:extLst>
                <a:ext uri="{FF2B5EF4-FFF2-40B4-BE49-F238E27FC236}">
                  <a16:creationId xmlns:a16="http://schemas.microsoft.com/office/drawing/2014/main" id="{1177F884-1B74-449C-8AF4-189B4A7ED9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6024" y="8835790"/>
              <a:ext cx="55715" cy="104141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76" name="Freeform 40">
              <a:extLst>
                <a:ext uri="{FF2B5EF4-FFF2-40B4-BE49-F238E27FC236}">
                  <a16:creationId xmlns:a16="http://schemas.microsoft.com/office/drawing/2014/main" id="{0E90F256-E945-4863-A367-2B07EB002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33850" y="8864792"/>
              <a:ext cx="58137" cy="76458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77" name="Freeform 41">
              <a:extLst>
                <a:ext uri="{FF2B5EF4-FFF2-40B4-BE49-F238E27FC236}">
                  <a16:creationId xmlns:a16="http://schemas.microsoft.com/office/drawing/2014/main" id="{F4B9180F-82ED-49A9-99E2-F9A1465296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34380" y="8864792"/>
              <a:ext cx="56926" cy="76458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78" name="Freeform 42">
              <a:extLst>
                <a:ext uri="{FF2B5EF4-FFF2-40B4-BE49-F238E27FC236}">
                  <a16:creationId xmlns:a16="http://schemas.microsoft.com/office/drawing/2014/main" id="{44469D67-0575-4C75-9E1B-4AA9167A4C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7052" y="8864792"/>
              <a:ext cx="54504" cy="75139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79" name="Freeform 43">
              <a:extLst>
                <a:ext uri="{FF2B5EF4-FFF2-40B4-BE49-F238E27FC236}">
                  <a16:creationId xmlns:a16="http://schemas.microsoft.com/office/drawing/2014/main" id="{001C0BEE-620A-41C5-9FC8-451ADA21FA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4879" y="8864792"/>
              <a:ext cx="50870" cy="76458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80" name="Freeform 44">
              <a:extLst>
                <a:ext uri="{FF2B5EF4-FFF2-40B4-BE49-F238E27FC236}">
                  <a16:creationId xmlns:a16="http://schemas.microsoft.com/office/drawing/2014/main" id="{0149CBAB-8936-45FF-B32E-2D83FBBFA7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33016" y="8864792"/>
              <a:ext cx="84784" cy="75139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81" name="Freeform 45">
              <a:extLst>
                <a:ext uri="{FF2B5EF4-FFF2-40B4-BE49-F238E27FC236}">
                  <a16:creationId xmlns:a16="http://schemas.microsoft.com/office/drawing/2014/main" id="{86DB78A3-C4E6-48E5-89AB-C5A54370A1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25066" y="8864792"/>
              <a:ext cx="58137" cy="76458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82" name="Freeform 46">
              <a:extLst>
                <a:ext uri="{FF2B5EF4-FFF2-40B4-BE49-F238E27FC236}">
                  <a16:creationId xmlns:a16="http://schemas.microsoft.com/office/drawing/2014/main" id="{7D9DDA17-670E-48C3-828B-7019984CAD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7738" y="8864792"/>
              <a:ext cx="39970" cy="75139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83" name="Freeform 47">
              <a:extLst>
                <a:ext uri="{FF2B5EF4-FFF2-40B4-BE49-F238E27FC236}">
                  <a16:creationId xmlns:a16="http://schemas.microsoft.com/office/drawing/2014/main" id="{F3FACDDB-7DB0-433A-9A11-F71FB2477C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32862" y="8918840"/>
              <a:ext cx="20591" cy="22410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84" name="Freeform 48">
              <a:extLst>
                <a:ext uri="{FF2B5EF4-FFF2-40B4-BE49-F238E27FC236}">
                  <a16:creationId xmlns:a16="http://schemas.microsoft.com/office/drawing/2014/main" id="{EA9E3C5C-36F3-44B0-91ED-8C4B479764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9756" y="8997935"/>
              <a:ext cx="65405" cy="9886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85" name="Freeform 49">
              <a:extLst>
                <a:ext uri="{FF2B5EF4-FFF2-40B4-BE49-F238E27FC236}">
                  <a16:creationId xmlns:a16="http://schemas.microsoft.com/office/drawing/2014/main" id="{4F97A9F6-AC06-4D57-B6FD-4C1A896E1A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7273" y="8993980"/>
              <a:ext cx="54504" cy="102823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86" name="Freeform 50">
              <a:extLst>
                <a:ext uri="{FF2B5EF4-FFF2-40B4-BE49-F238E27FC236}">
                  <a16:creationId xmlns:a16="http://schemas.microsoft.com/office/drawing/2014/main" id="{C86EB645-539A-4AC7-BE59-66C4553C331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03889" y="9020344"/>
              <a:ext cx="59349" cy="77776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87" name="Freeform 51">
              <a:extLst>
                <a:ext uri="{FF2B5EF4-FFF2-40B4-BE49-F238E27FC236}">
                  <a16:creationId xmlns:a16="http://schemas.microsoft.com/office/drawing/2014/main" id="{74182DF5-BB0F-4D95-BDA4-03FDC856BB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9262" y="8993980"/>
              <a:ext cx="58137" cy="104141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88" name="Freeform 52">
              <a:extLst>
                <a:ext uri="{FF2B5EF4-FFF2-40B4-BE49-F238E27FC236}">
                  <a16:creationId xmlns:a16="http://schemas.microsoft.com/office/drawing/2014/main" id="{53F6D317-AD0A-4918-B054-36432C800C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78301" y="9020344"/>
              <a:ext cx="58137" cy="77776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89" name="Freeform 53">
              <a:extLst>
                <a:ext uri="{FF2B5EF4-FFF2-40B4-BE49-F238E27FC236}">
                  <a16:creationId xmlns:a16="http://schemas.microsoft.com/office/drawing/2014/main" id="{B6019524-AD57-477F-973F-1DCFDA4933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3705" y="8993980"/>
              <a:ext cx="38758" cy="104141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90" name="Freeform 54">
              <a:extLst>
                <a:ext uri="{FF2B5EF4-FFF2-40B4-BE49-F238E27FC236}">
                  <a16:creationId xmlns:a16="http://schemas.microsoft.com/office/drawing/2014/main" id="{596C183C-5042-4F58-B2CE-EE01DC91A1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0941" y="8993980"/>
              <a:ext cx="38758" cy="104141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91" name="Freeform 55">
              <a:extLst>
                <a:ext uri="{FF2B5EF4-FFF2-40B4-BE49-F238E27FC236}">
                  <a16:creationId xmlns:a16="http://schemas.microsoft.com/office/drawing/2014/main" id="{3A0F313E-67D2-4BBE-A6EC-A5C01FC6D1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40600" y="9020344"/>
              <a:ext cx="58137" cy="77776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92" name="Freeform 56">
              <a:extLst>
                <a:ext uri="{FF2B5EF4-FFF2-40B4-BE49-F238E27FC236}">
                  <a16:creationId xmlns:a16="http://schemas.microsoft.com/office/drawing/2014/main" id="{C2E864D2-3F16-490F-AC07-F50C72BB78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3272" y="9020344"/>
              <a:ext cx="38758" cy="76458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93" name="Freeform 57">
              <a:extLst>
                <a:ext uri="{FF2B5EF4-FFF2-40B4-BE49-F238E27FC236}">
                  <a16:creationId xmlns:a16="http://schemas.microsoft.com/office/drawing/2014/main" id="{B648B4B8-22FA-4B20-B08E-A27D69C044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789" y="8993980"/>
              <a:ext cx="38758" cy="104141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94" name="Freeform 58">
              <a:extLst>
                <a:ext uri="{FF2B5EF4-FFF2-40B4-BE49-F238E27FC236}">
                  <a16:creationId xmlns:a16="http://schemas.microsoft.com/office/drawing/2014/main" id="{05C0D9AC-E06F-4787-93E0-945CCFF972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292" y="8993980"/>
              <a:ext cx="55715" cy="102823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95" name="Freeform 59">
              <a:extLst>
                <a:ext uri="{FF2B5EF4-FFF2-40B4-BE49-F238E27FC236}">
                  <a16:creationId xmlns:a16="http://schemas.microsoft.com/office/drawing/2014/main" id="{240D8179-38A0-49A0-97BC-F2FAD90E22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13119" y="9020344"/>
              <a:ext cx="58137" cy="77776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96" name="Freeform 60">
              <a:extLst>
                <a:ext uri="{FF2B5EF4-FFF2-40B4-BE49-F238E27FC236}">
                  <a16:creationId xmlns:a16="http://schemas.microsoft.com/office/drawing/2014/main" id="{EABA5712-F0D3-4142-965B-328AC226C7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3649" y="9022981"/>
              <a:ext cx="84784" cy="73821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97" name="Freeform 61">
              <a:extLst>
                <a:ext uri="{FF2B5EF4-FFF2-40B4-BE49-F238E27FC236}">
                  <a16:creationId xmlns:a16="http://schemas.microsoft.com/office/drawing/2014/main" id="{168737EB-E899-4FA8-9DD8-67B4E977D2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05699" y="9020344"/>
              <a:ext cx="60560" cy="77776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98" name="Freeform 62">
              <a:extLst>
                <a:ext uri="{FF2B5EF4-FFF2-40B4-BE49-F238E27FC236}">
                  <a16:creationId xmlns:a16="http://schemas.microsoft.com/office/drawing/2014/main" id="{E8AFCB06-F9B2-4BBF-8991-8E81618E54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0793" y="9020344"/>
              <a:ext cx="39970" cy="76458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299" name="Freeform 63">
              <a:extLst>
                <a:ext uri="{FF2B5EF4-FFF2-40B4-BE49-F238E27FC236}">
                  <a16:creationId xmlns:a16="http://schemas.microsoft.com/office/drawing/2014/main" id="{35579938-EC02-421F-9DC6-306B3440E4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32874" y="8993980"/>
              <a:ext cx="13323" cy="102823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300" name="Freeform 64">
              <a:extLst>
                <a:ext uri="{FF2B5EF4-FFF2-40B4-BE49-F238E27FC236}">
                  <a16:creationId xmlns:a16="http://schemas.microsoft.com/office/drawing/2014/main" id="{1378E553-DA3E-4053-A47C-4396F35835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461943" y="8993980"/>
              <a:ext cx="55715" cy="104141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301" name="Freeform 65">
              <a:extLst>
                <a:ext uri="{FF2B5EF4-FFF2-40B4-BE49-F238E27FC236}">
                  <a16:creationId xmlns:a16="http://schemas.microsoft.com/office/drawing/2014/main" id="{7304F332-8D04-4127-8D25-E67D5F8411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62472" y="9022981"/>
              <a:ext cx="84784" cy="73821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302" name="Freeform 66">
              <a:extLst>
                <a:ext uri="{FF2B5EF4-FFF2-40B4-BE49-F238E27FC236}">
                  <a16:creationId xmlns:a16="http://schemas.microsoft.com/office/drawing/2014/main" id="{E1FADA39-BC28-4CD9-AD42-61EBF60086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54523" y="9020344"/>
              <a:ext cx="61771" cy="77776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303" name="Freeform 67">
              <a:extLst>
                <a:ext uri="{FF2B5EF4-FFF2-40B4-BE49-F238E27FC236}">
                  <a16:creationId xmlns:a16="http://schemas.microsoft.com/office/drawing/2014/main" id="{391FD846-FBCA-44AF-A874-BCEEB5DCA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8406" y="9020344"/>
              <a:ext cx="41180" cy="76458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304" name="Freeform 68">
              <a:extLst>
                <a:ext uri="{FF2B5EF4-FFF2-40B4-BE49-F238E27FC236}">
                  <a16:creationId xmlns:a16="http://schemas.microsoft.com/office/drawing/2014/main" id="{1885F31F-77B1-4CDD-A0F4-C823D5503C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1699" y="8993980"/>
              <a:ext cx="53292" cy="102823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305" name="Freeform 69">
              <a:extLst>
                <a:ext uri="{FF2B5EF4-FFF2-40B4-BE49-F238E27FC236}">
                  <a16:creationId xmlns:a16="http://schemas.microsoft.com/office/drawing/2014/main" id="{6E7E3F0A-2BC3-4F50-985E-DC87F91C84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9836" y="9020344"/>
              <a:ext cx="52082" cy="77776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306" name="Freeform 70">
              <a:extLst>
                <a:ext uri="{FF2B5EF4-FFF2-40B4-BE49-F238E27FC236}">
                  <a16:creationId xmlns:a16="http://schemas.microsoft.com/office/drawing/2014/main" id="{8ECCB0D0-FFB4-4ACA-A707-BFA4FD4D0D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05241" y="9074393"/>
              <a:ext cx="19379" cy="23728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</a:endParaRPr>
            </a:p>
          </p:txBody>
        </p:sp>
      </p:grpSp>
      <p:grpSp>
        <p:nvGrpSpPr>
          <p:cNvPr id="307" name="Group 4">
            <a:extLst>
              <a:ext uri="{FF2B5EF4-FFF2-40B4-BE49-F238E27FC236}">
                <a16:creationId xmlns:a16="http://schemas.microsoft.com/office/drawing/2014/main" id="{F4C7EF89-E274-4B6B-AB9F-8415BE990FF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00568" y="8548597"/>
            <a:ext cx="915604" cy="1087690"/>
            <a:chOff x="6529" y="3125"/>
            <a:chExt cx="772" cy="904"/>
          </a:xfrm>
        </p:grpSpPr>
        <p:sp>
          <p:nvSpPr>
            <p:cNvPr id="308" name="Freeform 5">
              <a:extLst>
                <a:ext uri="{FF2B5EF4-FFF2-40B4-BE49-F238E27FC236}">
                  <a16:creationId xmlns:a16="http://schemas.microsoft.com/office/drawing/2014/main" id="{2C7023AE-8559-4467-BF7C-328547ECF7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309" name="Freeform 6">
              <a:extLst>
                <a:ext uri="{FF2B5EF4-FFF2-40B4-BE49-F238E27FC236}">
                  <a16:creationId xmlns:a16="http://schemas.microsoft.com/office/drawing/2014/main" id="{7B2A4982-C1E2-4213-ACED-3BF3260B9DF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46338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60593-3DA6-4959-801C-65CF799C434E}" type="datetimeFigureOut">
              <a:rPr lang="en-US" smtClean="0"/>
              <a:t>2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F56FA-1819-4CDC-8F2D-6C6F592D64A9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400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60593-3DA6-4959-801C-65CF799C434E}" type="datetimeFigureOut">
              <a:rPr lang="en-US" smtClean="0"/>
              <a:t>2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F56FA-1819-4CDC-8F2D-6C6F592D64A9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4070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2" name="Picture 2" descr="image001">
            <a:extLst>
              <a:ext uri="{FF2B5EF4-FFF2-40B4-BE49-F238E27FC236}">
                <a16:creationId xmlns:a16="http://schemas.microsoft.com/office/drawing/2014/main" id="{D7BF7BF0-73BD-4BC6-A8D1-68C2354091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6" y="0"/>
            <a:ext cx="6856214" cy="990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3FB8131E-B381-4B4E-983B-A008FB84BF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8515632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473" imgH="473" progId="TCLayout.ActiveDocument.1">
                  <p:embed/>
                </p:oleObj>
              </mc:Choice>
              <mc:Fallback>
                <p:oleObj name="Diapositive think-cell" r:id="rId5" imgW="473" imgH="473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3FB8131E-B381-4B4E-983B-A008FB84BF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EFD7977-5D8D-4F3A-8A01-54337AE75AA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89250" cy="229306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687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345302" y="8525290"/>
            <a:ext cx="2180252" cy="82361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>
                <a:solidFill>
                  <a:schemeClr val="bg1"/>
                </a:solidFill>
              </a:endParaRPr>
            </a:p>
          </p:txBody>
        </p:sp>
      </p:grpSp>
      <p:sp>
        <p:nvSpPr>
          <p:cNvPr id="85" name="Freeform 5">
            <a:extLst>
              <a:ext uri="{FF2B5EF4-FFF2-40B4-BE49-F238E27FC236}">
                <a16:creationId xmlns:a16="http://schemas.microsoft.com/office/drawing/2014/main" id="{AC4694FB-6A40-4D55-B0CE-A95370314869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338270" y="1063543"/>
            <a:ext cx="3115313" cy="4904998"/>
          </a:xfrm>
          <a:custGeom>
            <a:avLst/>
            <a:gdLst/>
            <a:ahLst/>
            <a:cxnLst/>
            <a:rect l="l" t="t" r="r" b="b"/>
            <a:pathLst>
              <a:path w="3440112" h="1957814">
                <a:moveTo>
                  <a:pt x="0" y="1957814"/>
                </a:moveTo>
                <a:cubicBezTo>
                  <a:pt x="499" y="1377928"/>
                  <a:pt x="2206" y="690705"/>
                  <a:pt x="3953" y="0"/>
                </a:cubicBezTo>
                <a:lnTo>
                  <a:pt x="3436599" y="0"/>
                </a:lnTo>
                <a:cubicBezTo>
                  <a:pt x="3436483" y="487966"/>
                  <a:pt x="3436948" y="961062"/>
                  <a:pt x="3440112" y="1359420"/>
                </a:cubicBezTo>
                <a:close/>
              </a:path>
            </a:pathLst>
          </a:custGeom>
          <a:solidFill>
            <a:srgbClr val="000000">
              <a:alpha val="70000"/>
            </a:srgbClr>
          </a:solidFill>
          <a:ln w="57150" cap="flat" cmpd="sng" algn="ctr">
            <a:noFill/>
            <a:prstDash val="solid"/>
            <a:headEnd/>
            <a:tailEnd/>
          </a:ln>
          <a:effectLst/>
        </p:spPr>
        <p:txBody>
          <a:bodyPr vert="horz" wrap="square" lIns="48790" tIns="24395" rIns="48790" bIns="24395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55559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791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cs typeface="Arial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330363" y="1018512"/>
            <a:ext cx="3193868" cy="498751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12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330363" y="5782431"/>
            <a:ext cx="85257" cy="219046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12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490778" y="5782431"/>
            <a:ext cx="85257" cy="219046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12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651127" y="5782431"/>
            <a:ext cx="85257" cy="219046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012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600912" y="4592783"/>
            <a:ext cx="2703108" cy="93273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124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8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14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799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63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586456" y="3090815"/>
            <a:ext cx="2689533" cy="1242800"/>
          </a:xfrm>
          <a:prstGeom prst="rect">
            <a:avLst/>
          </a:prstGeom>
        </p:spPr>
        <p:txBody>
          <a:bodyPr/>
          <a:lstStyle>
            <a:lvl1pPr>
              <a:defRPr sz="1687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grpSp>
        <p:nvGrpSpPr>
          <p:cNvPr id="86" name="Group 4">
            <a:extLst>
              <a:ext uri="{FF2B5EF4-FFF2-40B4-BE49-F238E27FC236}">
                <a16:creationId xmlns:a16="http://schemas.microsoft.com/office/drawing/2014/main" id="{B15D3516-27EB-4BFE-BB80-341DE733728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841637" y="7351536"/>
            <a:ext cx="689013" cy="2072922"/>
            <a:chOff x="6529" y="3125"/>
            <a:chExt cx="772" cy="904"/>
          </a:xfrm>
        </p:grpSpPr>
        <p:sp>
          <p:nvSpPr>
            <p:cNvPr id="87" name="Freeform 5">
              <a:extLst>
                <a:ext uri="{FF2B5EF4-FFF2-40B4-BE49-F238E27FC236}">
                  <a16:creationId xmlns:a16="http://schemas.microsoft.com/office/drawing/2014/main" id="{674452A0-B78B-4716-8F5A-D0321AE822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/>
            </a:p>
          </p:txBody>
        </p:sp>
        <p:sp>
          <p:nvSpPr>
            <p:cNvPr id="88" name="Freeform 6">
              <a:extLst>
                <a:ext uri="{FF2B5EF4-FFF2-40B4-BE49-F238E27FC236}">
                  <a16:creationId xmlns:a16="http://schemas.microsoft.com/office/drawing/2014/main" id="{18B5F123-191C-4457-9CC1-1E04C343F2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 dirty="0"/>
            </a:p>
          </p:txBody>
        </p:sp>
      </p:grpSp>
    </p:spTree>
    <p:extLst>
      <p:ext uri="{BB962C8B-B14F-4D97-AF65-F5344CB8AC3E}">
        <p14:creationId xmlns:p14="http://schemas.microsoft.com/office/powerpoint/2010/main" val="3218071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5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411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2B120323-40D0-4E2D-996A-D56CA692C2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189648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73" imgH="473" progId="TCLayout.ActiveDocument.1">
                  <p:embed/>
                </p:oleObj>
              </mc:Choice>
              <mc:Fallback>
                <p:oleObj name="Diapositive think-cell" r:id="rId3" imgW="473" imgH="473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2B120323-40D0-4E2D-996A-D56CA692C2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4">
            <a:extLst>
              <a:ext uri="{FF2B5EF4-FFF2-40B4-BE49-F238E27FC236}">
                <a16:creationId xmlns:a16="http://schemas.microsoft.com/office/drawing/2014/main" id="{3AFD498C-C825-454A-A0C8-05D54FE01CD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345704" y="9181394"/>
            <a:ext cx="170468" cy="44943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3D4CBBB-A2CA-45EF-A0A7-762031B639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fr-FR" sz="1012" dirty="0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CD2CB676-4839-4F9E-8DD7-50BB2965A0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fr-FR" sz="1012" dirty="0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3C319006-3C8B-49D4-BA7C-9BA67257D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fr-FR" sz="1012" dirty="0"/>
            </a:p>
          </p:txBody>
        </p:sp>
      </p:grpSp>
      <p:pic>
        <p:nvPicPr>
          <p:cNvPr id="12" name="Picture 2" descr="image001">
            <a:extLst>
              <a:ext uri="{FF2B5EF4-FFF2-40B4-BE49-F238E27FC236}">
                <a16:creationId xmlns:a16="http://schemas.microsoft.com/office/drawing/2014/main" id="{F2A995F4-D5C0-4776-9A8F-4D3F03BAE2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6" y="0"/>
            <a:ext cx="6856214" cy="990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350094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C372B957-58F6-4B77-A708-6B35FF3A3A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9615299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73" imgH="473" progId="TCLayout.ActiveDocument.1">
                  <p:embed/>
                </p:oleObj>
              </mc:Choice>
              <mc:Fallback>
                <p:oleObj name="Diapositive think-cell" r:id="rId4" imgW="473" imgH="473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C372B957-58F6-4B77-A708-6B35FF3A3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80326DA-9280-4F5A-BD13-93B71F63C0C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89250" cy="229306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349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1" y="424956"/>
            <a:ext cx="6172200" cy="852800"/>
          </a:xfrm>
        </p:spPr>
        <p:txBody>
          <a:bodyPr/>
          <a:lstStyle>
            <a:lvl1pPr>
              <a:defRPr sz="134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42900" y="1311194"/>
            <a:ext cx="6173035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2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806A2-2AA7-4EC7-8FA5-6DD8E9FC1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21 août 2019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onfidentiel – Tous droits réservés - E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N°›</a:t>
            </a:fld>
            <a:endParaRPr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901" y="1643662"/>
            <a:ext cx="6172200" cy="7146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25293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09605" y="2"/>
            <a:ext cx="2248396" cy="8892150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1" y="424956"/>
            <a:ext cx="4185308" cy="852800"/>
          </a:xfrm>
        </p:spPr>
        <p:txBody>
          <a:bodyPr/>
          <a:lstStyle>
            <a:lvl1pPr>
              <a:defRPr sz="134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2901" y="1643664"/>
            <a:ext cx="4103911" cy="1262098"/>
          </a:xfrm>
        </p:spPr>
        <p:txBody>
          <a:bodyPr/>
          <a:lstStyle>
            <a:lvl1pPr marL="0" indent="0">
              <a:buNone/>
              <a:defRPr sz="1012">
                <a:solidFill>
                  <a:schemeClr val="bg1"/>
                </a:solidFill>
              </a:defRPr>
            </a:lvl1pPr>
            <a:lvl2pPr marL="200496" indent="0">
              <a:buNone/>
              <a:defRPr sz="1012">
                <a:solidFill>
                  <a:schemeClr val="bg1"/>
                </a:solidFill>
              </a:defRPr>
            </a:lvl2pPr>
            <a:lvl3pPr marL="400992" indent="0">
              <a:buNone/>
              <a:defRPr sz="899">
                <a:solidFill>
                  <a:schemeClr val="bg1"/>
                </a:solidFill>
              </a:defRPr>
            </a:lvl3pPr>
            <a:lvl4pPr marL="601489" indent="0">
              <a:buNone/>
              <a:defRPr sz="787">
                <a:solidFill>
                  <a:schemeClr val="bg1"/>
                </a:solidFill>
              </a:defRPr>
            </a:lvl4pPr>
            <a:lvl5pPr marL="801985" indent="0">
              <a:buNone/>
              <a:defRPr sz="674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342901" y="3338691"/>
            <a:ext cx="2012767" cy="5553461"/>
          </a:xfrm>
        </p:spPr>
        <p:txBody>
          <a:bodyPr numCol="1"/>
          <a:lstStyle>
            <a:lvl1pPr marL="0" indent="0">
              <a:buNone/>
              <a:defRPr sz="787">
                <a:solidFill>
                  <a:schemeClr val="bg1"/>
                </a:solidFill>
              </a:defRPr>
            </a:lvl1pPr>
            <a:lvl2pPr marL="200496" indent="0">
              <a:buNone/>
              <a:defRPr sz="1012">
                <a:solidFill>
                  <a:schemeClr val="bg1"/>
                </a:solidFill>
              </a:defRPr>
            </a:lvl2pPr>
            <a:lvl3pPr marL="400992" indent="0">
              <a:buNone/>
              <a:defRPr sz="899">
                <a:solidFill>
                  <a:schemeClr val="bg1"/>
                </a:solidFill>
              </a:defRPr>
            </a:lvl3pPr>
            <a:lvl4pPr marL="601489" indent="0">
              <a:buNone/>
              <a:defRPr sz="787">
                <a:solidFill>
                  <a:schemeClr val="bg1"/>
                </a:solidFill>
              </a:defRPr>
            </a:lvl4pPr>
            <a:lvl5pPr marL="801985" indent="0">
              <a:buNone/>
              <a:defRPr sz="674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434045" y="3338692"/>
            <a:ext cx="2012767" cy="1812430"/>
          </a:xfrm>
        </p:spPr>
        <p:txBody>
          <a:bodyPr numCol="1"/>
          <a:lstStyle>
            <a:lvl1pPr marL="0" indent="0">
              <a:buNone/>
              <a:defRPr sz="787">
                <a:solidFill>
                  <a:schemeClr val="bg1"/>
                </a:solidFill>
              </a:defRPr>
            </a:lvl1pPr>
            <a:lvl2pPr marL="200496" indent="0">
              <a:buNone/>
              <a:defRPr sz="1012">
                <a:solidFill>
                  <a:schemeClr val="bg1"/>
                </a:solidFill>
              </a:defRPr>
            </a:lvl2pPr>
            <a:lvl3pPr marL="400992" indent="0">
              <a:buNone/>
              <a:defRPr sz="899">
                <a:solidFill>
                  <a:schemeClr val="bg1"/>
                </a:solidFill>
              </a:defRPr>
            </a:lvl3pPr>
            <a:lvl4pPr marL="601489" indent="0">
              <a:buNone/>
              <a:defRPr sz="787">
                <a:solidFill>
                  <a:schemeClr val="bg1"/>
                </a:solidFill>
              </a:defRPr>
            </a:lvl4pPr>
            <a:lvl5pPr marL="801985" indent="0">
              <a:buNone/>
              <a:defRPr sz="674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434045" y="6119708"/>
            <a:ext cx="2012767" cy="2808231"/>
          </a:xfrm>
        </p:spPr>
        <p:txBody>
          <a:bodyPr numCol="1"/>
          <a:lstStyle>
            <a:lvl1pPr marL="0" indent="0">
              <a:buNone/>
              <a:defRPr sz="1012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00496" indent="0">
              <a:buNone/>
              <a:defRPr sz="1012">
                <a:solidFill>
                  <a:schemeClr val="bg1"/>
                </a:solidFill>
              </a:defRPr>
            </a:lvl2pPr>
            <a:lvl3pPr marL="400992" indent="0">
              <a:buNone/>
              <a:defRPr sz="899">
                <a:solidFill>
                  <a:schemeClr val="bg1"/>
                </a:solidFill>
              </a:defRPr>
            </a:lvl3pPr>
            <a:lvl4pPr marL="601489" indent="0">
              <a:buNone/>
              <a:defRPr sz="787">
                <a:solidFill>
                  <a:schemeClr val="bg1"/>
                </a:solidFill>
              </a:defRPr>
            </a:lvl4pPr>
            <a:lvl5pPr marL="801985" indent="0">
              <a:buNone/>
              <a:defRPr sz="674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42901" y="1311194"/>
            <a:ext cx="4342406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2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F645E2DB-87B4-4EB8-8152-14F196DC8B8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03353" y="9347352"/>
            <a:ext cx="669734" cy="260000"/>
          </a:xfrm>
        </p:spPr>
        <p:txBody>
          <a:bodyPr/>
          <a:lstStyle/>
          <a:p>
            <a:r>
              <a:rPr lang="fr-FR"/>
              <a:t>21 août 2019</a:t>
            </a:r>
            <a:endParaRPr lang="en-IN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B4F207F2-2F56-46AF-B38E-D9037035F7A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821095" y="9347352"/>
            <a:ext cx="1735027" cy="260000"/>
          </a:xfrm>
        </p:spPr>
        <p:txBody>
          <a:bodyPr/>
          <a:lstStyle>
            <a:lvl1pPr>
              <a:defRPr/>
            </a:lvl1pPr>
          </a:lstStyle>
          <a:p>
            <a:r>
              <a:rPr lang="fr-FR" noProof="0"/>
              <a:t>Confidentiel – Tous droits réservés - EY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B523C31-15AC-44C2-8439-92CF6F24A7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347006" y="9347352"/>
            <a:ext cx="372781" cy="260000"/>
          </a:xfr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N°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282001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"/>
            <a:ext cx="1340561" cy="9905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5314" y="424956"/>
            <a:ext cx="4999146" cy="852800"/>
          </a:xfrm>
        </p:spPr>
        <p:txBody>
          <a:bodyPr/>
          <a:lstStyle>
            <a:lvl1pPr>
              <a:defRPr sz="134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515313" y="1643664"/>
            <a:ext cx="1542068" cy="7248488"/>
          </a:xfrm>
        </p:spPr>
        <p:txBody>
          <a:bodyPr/>
          <a:lstStyle>
            <a:lvl1pPr marL="0" indent="0">
              <a:buNone/>
              <a:defRPr sz="1012">
                <a:solidFill>
                  <a:schemeClr val="bg1"/>
                </a:solidFill>
              </a:defRPr>
            </a:lvl1pPr>
            <a:lvl2pPr marL="200496" indent="0">
              <a:buNone/>
              <a:defRPr sz="1012">
                <a:solidFill>
                  <a:schemeClr val="bg1"/>
                </a:solidFill>
              </a:defRPr>
            </a:lvl2pPr>
            <a:lvl3pPr marL="400992" indent="0">
              <a:buNone/>
              <a:defRPr sz="899">
                <a:solidFill>
                  <a:schemeClr val="bg1"/>
                </a:solidFill>
              </a:defRPr>
            </a:lvl3pPr>
            <a:lvl4pPr marL="601489" indent="0">
              <a:buNone/>
              <a:defRPr sz="787">
                <a:solidFill>
                  <a:schemeClr val="bg1"/>
                </a:solidFill>
              </a:defRPr>
            </a:lvl4pPr>
            <a:lvl5pPr marL="801985" indent="0">
              <a:buNone/>
              <a:defRPr sz="674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3219807" y="1643664"/>
            <a:ext cx="1576340" cy="7248488"/>
          </a:xfrm>
        </p:spPr>
        <p:txBody>
          <a:bodyPr numCol="1"/>
          <a:lstStyle>
            <a:lvl1pPr marL="0" indent="0">
              <a:buNone/>
              <a:defRPr sz="787">
                <a:solidFill>
                  <a:schemeClr val="bg1"/>
                </a:solidFill>
              </a:defRPr>
            </a:lvl1pPr>
            <a:lvl2pPr marL="200496" indent="0">
              <a:buNone/>
              <a:defRPr sz="1012">
                <a:solidFill>
                  <a:schemeClr val="bg1"/>
                </a:solidFill>
              </a:defRPr>
            </a:lvl2pPr>
            <a:lvl3pPr marL="400992" indent="0">
              <a:buNone/>
              <a:defRPr sz="899">
                <a:solidFill>
                  <a:schemeClr val="bg1"/>
                </a:solidFill>
              </a:defRPr>
            </a:lvl3pPr>
            <a:lvl4pPr marL="601489" indent="0">
              <a:buNone/>
              <a:defRPr sz="787">
                <a:solidFill>
                  <a:schemeClr val="bg1"/>
                </a:solidFill>
              </a:defRPr>
            </a:lvl4pPr>
            <a:lvl5pPr marL="801985" indent="0">
              <a:buNone/>
              <a:defRPr sz="674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4958573" y="1643666"/>
            <a:ext cx="1556527" cy="4038885"/>
          </a:xfrm>
        </p:spPr>
        <p:txBody>
          <a:bodyPr numCol="1"/>
          <a:lstStyle>
            <a:lvl1pPr marL="0" indent="0">
              <a:buNone/>
              <a:defRPr sz="787">
                <a:solidFill>
                  <a:schemeClr val="bg1"/>
                </a:solidFill>
              </a:defRPr>
            </a:lvl1pPr>
            <a:lvl2pPr marL="200496" indent="0">
              <a:buNone/>
              <a:defRPr sz="1012">
                <a:solidFill>
                  <a:schemeClr val="bg1"/>
                </a:solidFill>
              </a:defRPr>
            </a:lvl2pPr>
            <a:lvl3pPr marL="400992" indent="0">
              <a:buNone/>
              <a:defRPr sz="899">
                <a:solidFill>
                  <a:schemeClr val="bg1"/>
                </a:solidFill>
              </a:defRPr>
            </a:lvl3pPr>
            <a:lvl4pPr marL="601489" indent="0">
              <a:buNone/>
              <a:defRPr sz="787">
                <a:solidFill>
                  <a:schemeClr val="bg1"/>
                </a:solidFill>
              </a:defRPr>
            </a:lvl4pPr>
            <a:lvl5pPr marL="801985" indent="0">
              <a:buNone/>
              <a:defRPr sz="674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15314" y="1311194"/>
            <a:ext cx="4999146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2" noProof="0" dirty="0">
              <a:solidFill>
                <a:schemeClr val="bg1"/>
              </a:solidFill>
            </a:endParaRP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0C6D586B-CC5D-4FDC-B4E2-70D7D26ECAAA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803353" y="9347352"/>
            <a:ext cx="669734" cy="260000"/>
          </a:xfrm>
        </p:spPr>
        <p:txBody>
          <a:bodyPr/>
          <a:lstStyle/>
          <a:p>
            <a:r>
              <a:rPr lang="fr-FR"/>
              <a:t>21 août 2019</a:t>
            </a:r>
            <a:endParaRPr lang="en-IN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2048050-1442-43E9-8983-F0AA99ECD77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821095" y="9347352"/>
            <a:ext cx="1735027" cy="260000"/>
          </a:xfrm>
        </p:spPr>
        <p:txBody>
          <a:bodyPr/>
          <a:lstStyle>
            <a:lvl1pPr>
              <a:defRPr/>
            </a:lvl1pPr>
          </a:lstStyle>
          <a:p>
            <a:r>
              <a:rPr lang="fr-FR" noProof="0"/>
              <a:t>Confidentiel – Tous droits réservés - EY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8257473-892C-40A3-93B3-CF2AE3D11C9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347006" y="9347352"/>
            <a:ext cx="372781" cy="260000"/>
          </a:xfr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N°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559922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C23D7306-E600-4791-9D28-53ADE4790BEA}"/>
              </a:ext>
            </a:extLst>
          </p:cNvPr>
          <p:cNvGrpSpPr/>
          <p:nvPr userDrawn="1"/>
        </p:nvGrpSpPr>
        <p:grpSpPr>
          <a:xfrm>
            <a:off x="0" y="0"/>
            <a:ext cx="6858001" cy="9906000"/>
            <a:chOff x="0" y="0"/>
            <a:chExt cx="12198351" cy="6858000"/>
          </a:xfrm>
        </p:grpSpPr>
        <p:pic>
          <p:nvPicPr>
            <p:cNvPr id="3" name="Content Placeholder 3">
              <a:extLst>
                <a:ext uri="{FF2B5EF4-FFF2-40B4-BE49-F238E27FC236}">
                  <a16:creationId xmlns:a16="http://schemas.microsoft.com/office/drawing/2014/main" id="{512A84B0-F10A-4A02-AD57-E01F7676B6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7105"/>
            <a:stretch/>
          </p:blipFill>
          <p:spPr>
            <a:xfrm>
              <a:off x="2091773" y="0"/>
              <a:ext cx="10106578" cy="6858000"/>
            </a:xfrm>
            <a:prstGeom prst="rect">
              <a:avLst/>
            </a:prstGeom>
          </p:spPr>
        </p:pic>
        <p:pic>
          <p:nvPicPr>
            <p:cNvPr id="4" name="Content Placeholder 3">
              <a:extLst>
                <a:ext uri="{FF2B5EF4-FFF2-40B4-BE49-F238E27FC236}">
                  <a16:creationId xmlns:a16="http://schemas.microsoft.com/office/drawing/2014/main" id="{11D5A58E-C989-40FC-A835-9C35DDA46C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r="74910"/>
            <a:stretch/>
          </p:blipFill>
          <p:spPr>
            <a:xfrm>
              <a:off x="0" y="0"/>
              <a:ext cx="3058886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893559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109DE8F3-E5A2-40E5-AD9E-5E1C1DC906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6113619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73" imgH="473" progId="TCLayout.ActiveDocument.1">
                  <p:embed/>
                </p:oleObj>
              </mc:Choice>
              <mc:Fallback>
                <p:oleObj name="Diapositive think-cell" r:id="rId3" imgW="473" imgH="473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109DE8F3-E5A2-40E5-AD9E-5E1C1DC906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C479471A-3D49-4493-96FE-92A663E0E578}"/>
              </a:ext>
            </a:extLst>
          </p:cNvPr>
          <p:cNvSpPr txBox="1">
            <a:spLocks/>
          </p:cNvSpPr>
          <p:nvPr userDrawn="1"/>
        </p:nvSpPr>
        <p:spPr>
          <a:xfrm>
            <a:off x="0" y="-1339145"/>
            <a:ext cx="3427215" cy="79614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666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3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r-FR" sz="30922" i="0" u="none" strike="noStrike" kern="1200" cap="none" spc="0" normalizeH="0" baseline="0" noProof="0" dirty="0">
              <a:ln>
                <a:noFill/>
              </a:ln>
              <a:solidFill>
                <a:schemeClr val="tx2">
                  <a:alpha val="50000"/>
                </a:schemeClr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5388" y="4118865"/>
            <a:ext cx="2500585" cy="1736682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kumimoji="0" lang="en-IN" sz="2024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00496" marR="0" lvl="0" indent="-200496" defTabSz="56665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fr-FR" dirty="0" err="1"/>
              <a:t>Chapter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CAF2E679-48DA-46F1-B79D-3AC3A9C402C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345704" y="9181394"/>
            <a:ext cx="170468" cy="449439"/>
            <a:chOff x="7110" y="4004"/>
            <a:chExt cx="191" cy="196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39139CEC-BDD0-41AF-96B2-FD37E366FD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fr-FR" sz="1012" dirty="0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7366FF91-09F0-4B11-8E23-082A4A750D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fr-FR" sz="1012" dirty="0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BF8A5C16-623C-4D5B-A19B-88A750FCF5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fr-FR" sz="1012" dirty="0"/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4443D1-37A3-4969-A6D3-4E99E05604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fr-FR"/>
              <a:t>21 août 2019</a:t>
            </a:r>
            <a:endParaRPr lang="fr-FR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Confidentiel – Tous droits réservés - E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fr-FR" dirty="0"/>
              <a:t>Page </a:t>
            </a:r>
            <a:fld id="{F1BC30E3-FFE5-4B91-AA19-87A149EBB9EE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6" name="Picture 2" descr="image001">
            <a:extLst>
              <a:ext uri="{FF2B5EF4-FFF2-40B4-BE49-F238E27FC236}">
                <a16:creationId xmlns:a16="http://schemas.microsoft.com/office/drawing/2014/main" id="{23EBC4A1-1C4C-49A8-82C6-2574A40CA92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6" y="0"/>
            <a:ext cx="6856214" cy="990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7918E1B8-A171-465D-A8BE-3C228C31E986}"/>
              </a:ext>
            </a:extLst>
          </p:cNvPr>
          <p:cNvSpPr/>
          <p:nvPr userDrawn="1"/>
        </p:nvSpPr>
        <p:spPr>
          <a:xfrm flipH="1">
            <a:off x="5995" y="0"/>
            <a:ext cx="6852005" cy="9906000"/>
          </a:xfrm>
          <a:prstGeom prst="rect">
            <a:avLst/>
          </a:prstGeom>
          <a:gradFill flip="none" rotWithShape="1">
            <a:gsLst>
              <a:gs pos="39000">
                <a:srgbClr val="000000">
                  <a:alpha val="0"/>
                </a:srgbClr>
              </a:gs>
              <a:gs pos="62000">
                <a:srgbClr val="000000">
                  <a:alpha val="43000"/>
                </a:srgbClr>
              </a:gs>
              <a:gs pos="86000">
                <a:srgbClr val="000000">
                  <a:alpha val="78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12" dirty="0"/>
          </a:p>
        </p:txBody>
      </p:sp>
    </p:spTree>
    <p:extLst>
      <p:ext uri="{BB962C8B-B14F-4D97-AF65-F5344CB8AC3E}">
        <p14:creationId xmlns:p14="http://schemas.microsoft.com/office/powerpoint/2010/main" val="597975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1487" y="9181397"/>
            <a:ext cx="1543050" cy="527403"/>
          </a:xfrm>
        </p:spPr>
        <p:txBody>
          <a:bodyPr/>
          <a:lstStyle/>
          <a:p>
            <a:fld id="{ED760593-3DA6-4959-801C-65CF799C434E}" type="datetimeFigureOut">
              <a:rPr lang="en-US" smtClean="0"/>
              <a:t>2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F56FA-1819-4CDC-8F2D-6C6F592D64A9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88020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20" userDrawn="1">
          <p15:clr>
            <a:srgbClr val="FBAE40"/>
          </p15:clr>
        </p15:guide>
        <p15:guide id="2" pos="216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60593-3DA6-4959-801C-65CF799C434E}" type="datetimeFigureOut">
              <a:rPr lang="en-US" smtClean="0"/>
              <a:t>2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F56FA-1819-4CDC-8F2D-6C6F592D64A9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8970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60593-3DA6-4959-801C-65CF799C434E}" type="datetimeFigureOut">
              <a:rPr lang="en-US" smtClean="0"/>
              <a:t>2/1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F56FA-1819-4CDC-8F2D-6C6F592D64A9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255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60593-3DA6-4959-801C-65CF799C434E}" type="datetimeFigureOut">
              <a:rPr lang="en-US" smtClean="0"/>
              <a:t>2/12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F56FA-1819-4CDC-8F2D-6C6F592D64A9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88236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60593-3DA6-4959-801C-65CF799C434E}" type="datetimeFigureOut">
              <a:rPr lang="en-US" smtClean="0"/>
              <a:t>2/1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F56FA-1819-4CDC-8F2D-6C6F592D64A9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49289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60593-3DA6-4959-801C-65CF799C434E}" type="datetimeFigureOut">
              <a:rPr lang="en-US" smtClean="0"/>
              <a:t>2/12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F56FA-1819-4CDC-8F2D-6C6F592D64A9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0414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60593-3DA6-4959-801C-65CF799C434E}" type="datetimeFigureOut">
              <a:rPr lang="en-US" smtClean="0"/>
              <a:t>2/1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F56FA-1819-4CDC-8F2D-6C6F592D64A9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0452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60593-3DA6-4959-801C-65CF799C434E}" type="datetimeFigureOut">
              <a:rPr lang="en-US" smtClean="0"/>
              <a:t>2/1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F56FA-1819-4CDC-8F2D-6C6F592D64A9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9613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9A93EAE-87DB-4D1C-A51E-5CD33D05A3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548621531"/>
              </p:ext>
            </p:extLst>
          </p:nvPr>
        </p:nvGraphicFramePr>
        <p:xfrm>
          <a:off x="1100" y="2294"/>
          <a:ext cx="1099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4" imgW="473" imgH="476" progId="TCLayout.ActiveDocument.1">
                  <p:embed/>
                </p:oleObj>
              </mc:Choice>
              <mc:Fallback>
                <p:oleObj name="Diapositive think-cell" r:id="rId1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9A93EAE-87DB-4D1C-A51E-5CD33D05A3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00" y="2294"/>
                        <a:ext cx="1099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760593-3DA6-4959-801C-65CF799C434E}" type="datetimeFigureOut">
              <a:rPr lang="en-US" smtClean="0"/>
              <a:t>2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CF56FA-1819-4CDC-8F2D-6C6F592D64A9}" type="slidenum">
              <a:rPr lang="en-US" smtClean="0"/>
              <a:t>‹N°›</a:t>
            </a:fld>
            <a:endParaRPr lang="en-US"/>
          </a:p>
        </p:txBody>
      </p:sp>
      <p:sp>
        <p:nvSpPr>
          <p:cNvPr id="11" name="Text Box 121">
            <a:extLst>
              <a:ext uri="{FF2B5EF4-FFF2-40B4-BE49-F238E27FC236}">
                <a16:creationId xmlns:a16="http://schemas.microsoft.com/office/drawing/2014/main" id="{7508C3EF-9C11-4C05-8214-A3387594D875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903541" y="9488281"/>
            <a:ext cx="482971" cy="12246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ctr" defTabSz="1131651"/>
            <a:fld id="{2ED390AD-E177-4AD8-B0DF-CC72DC7E0383}" type="slidenum">
              <a:rPr lang="fr-FR" sz="796" b="1" smtClean="0">
                <a:solidFill>
                  <a:srgbClr val="333333"/>
                </a:solidFill>
                <a:cs typeface="Arial" pitchFamily="34" charset="0"/>
              </a:rPr>
              <a:pPr algn="ctr" defTabSz="1131651"/>
              <a:t>‹N°›</a:t>
            </a:fld>
            <a:endParaRPr lang="fr-FR" sz="796" b="1" dirty="0">
              <a:solidFill>
                <a:srgbClr val="333333"/>
              </a:solidFill>
              <a:cs typeface="Arial" pitchFamily="34" charset="0"/>
            </a:endParaRPr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F69B62B1-A530-4643-BE4B-701F86F54F2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2218" y="9377053"/>
            <a:ext cx="226058" cy="232098"/>
            <a:chOff x="7110" y="4004"/>
            <a:chExt cx="191" cy="196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F301F49C-0098-57D5-3640-499FE1052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F72A41B-6AA1-6BA4-C5A9-52059A6CBF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63C3F24-C64B-9539-F989-B504AA5C65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4774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2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931365039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1" imgW="270" imgH="270" progId="TCLayout.ActiveDocument.1">
                  <p:embed/>
                </p:oleObj>
              </mc:Choice>
              <mc:Fallback>
                <p:oleObj name="Diapositive think-cell" r:id="rId11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89250" cy="229306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/>
            <a:endParaRPr lang="en-US" sz="1349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1" y="424956"/>
            <a:ext cx="6172200" cy="8534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1" y="1643662"/>
            <a:ext cx="6172200" cy="71469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345704" y="9181394"/>
            <a:ext cx="170468" cy="449439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012"/>
            </a:p>
          </p:txBody>
        </p: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03353" y="9347352"/>
            <a:ext cx="669734" cy="2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514093" rtl="0" eaLnBrk="1" latinLnBrk="0" hangingPunct="1">
              <a:defRPr lang="en-IN" sz="45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fr-FR"/>
              <a:t>21 août 2019</a:t>
            </a:r>
            <a:endParaRPr lang="en-IN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1095" y="9347352"/>
            <a:ext cx="1735027" cy="2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514093" rtl="0" eaLnBrk="1" latinLnBrk="0" hangingPunct="1">
              <a:defRPr lang="en-IN" sz="45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fr-FR"/>
              <a:t>Confidentiel – Tous droits réservés - EY</a:t>
            </a:r>
            <a:endParaRPr lang="en-US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7006" y="9347352"/>
            <a:ext cx="372781" cy="2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514093" rtl="0" eaLnBrk="1" latinLnBrk="0" hangingPunct="1">
              <a:defRPr lang="en-IN" sz="45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N°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69476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</p:sldLayoutIdLst>
  <p:hf hdr="0" dt="0"/>
  <p:txStyles>
    <p:titleStyle>
      <a:lvl1pPr algn="l" defTabSz="514093" rtl="0" eaLnBrk="1" latinLnBrk="0" hangingPunct="1">
        <a:lnSpc>
          <a:spcPct val="85000"/>
        </a:lnSpc>
        <a:spcBef>
          <a:spcPct val="0"/>
        </a:spcBef>
        <a:buNone/>
        <a:defRPr sz="134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200496" indent="-200496" algn="l" defTabSz="51409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24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400992" indent="-200496" algn="l" defTabSz="51409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012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601489" indent="-200496" algn="l" defTabSz="51409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8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801985" indent="-200496" algn="l" defTabSz="51409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787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002481" indent="-200496" algn="l" defTabSz="51409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674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413755" indent="-128523" algn="l" defTabSz="514093" rtl="0" eaLnBrk="1" latinLnBrk="0" hangingPunct="1">
        <a:spcBef>
          <a:spcPct val="20000"/>
        </a:spcBef>
        <a:buFont typeface="Arial" pitchFamily="34" charset="0"/>
        <a:buChar char="•"/>
        <a:defRPr sz="1124" kern="1200">
          <a:solidFill>
            <a:schemeClr val="tx1"/>
          </a:solidFill>
          <a:latin typeface="+mn-lt"/>
          <a:ea typeface="+mn-ea"/>
          <a:cs typeface="+mn-cs"/>
        </a:defRPr>
      </a:lvl6pPr>
      <a:lvl7pPr marL="1670802" indent="-128523" algn="l" defTabSz="514093" rtl="0" eaLnBrk="1" latinLnBrk="0" hangingPunct="1">
        <a:spcBef>
          <a:spcPct val="20000"/>
        </a:spcBef>
        <a:buFont typeface="Arial" pitchFamily="34" charset="0"/>
        <a:buChar char="•"/>
        <a:defRPr sz="1124" kern="1200">
          <a:solidFill>
            <a:schemeClr val="tx1"/>
          </a:solidFill>
          <a:latin typeface="+mn-lt"/>
          <a:ea typeface="+mn-ea"/>
          <a:cs typeface="+mn-cs"/>
        </a:defRPr>
      </a:lvl7pPr>
      <a:lvl8pPr marL="1927848" indent="-128523" algn="l" defTabSz="514093" rtl="0" eaLnBrk="1" latinLnBrk="0" hangingPunct="1">
        <a:spcBef>
          <a:spcPct val="20000"/>
        </a:spcBef>
        <a:buFont typeface="Arial" pitchFamily="34" charset="0"/>
        <a:buChar char="•"/>
        <a:defRPr sz="1124" kern="1200">
          <a:solidFill>
            <a:schemeClr val="tx1"/>
          </a:solidFill>
          <a:latin typeface="+mn-lt"/>
          <a:ea typeface="+mn-ea"/>
          <a:cs typeface="+mn-cs"/>
        </a:defRPr>
      </a:lvl8pPr>
      <a:lvl9pPr marL="2184895" indent="-128523" algn="l" defTabSz="514093" rtl="0" eaLnBrk="1" latinLnBrk="0" hangingPunct="1">
        <a:spcBef>
          <a:spcPct val="20000"/>
        </a:spcBef>
        <a:buFont typeface="Arial" pitchFamily="34" charset="0"/>
        <a:buChar char="•"/>
        <a:defRPr sz="112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093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1pPr>
      <a:lvl2pPr marL="257046" algn="l" defTabSz="514093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2pPr>
      <a:lvl3pPr marL="514093" algn="l" defTabSz="514093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3pPr>
      <a:lvl4pPr marL="771139" algn="l" defTabSz="514093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4pPr>
      <a:lvl5pPr marL="1028186" algn="l" defTabSz="514093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5pPr>
      <a:lvl6pPr marL="1285232" algn="l" defTabSz="514093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6pPr>
      <a:lvl7pPr marL="1542278" algn="l" defTabSz="514093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7pPr>
      <a:lvl8pPr marL="1799325" algn="l" defTabSz="514093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8pPr>
      <a:lvl9pPr marL="2056371" algn="l" defTabSz="514093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mailto:siwar.ben.khelifa@tn.ey.com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39">
            <a:extLst>
              <a:ext uri="{FF2B5EF4-FFF2-40B4-BE49-F238E27FC236}">
                <a16:creationId xmlns:a16="http://schemas.microsoft.com/office/drawing/2014/main" id="{CC3FF5D5-5A8D-481F-A217-9CA1948E31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9569902"/>
              </p:ext>
            </p:extLst>
          </p:nvPr>
        </p:nvGraphicFramePr>
        <p:xfrm>
          <a:off x="556266" y="540820"/>
          <a:ext cx="5734901" cy="975360"/>
        </p:xfrm>
        <a:graphic>
          <a:graphicData uri="http://schemas.openxmlformats.org/drawingml/2006/table">
            <a:tbl>
              <a:tblPr firstRow="1" firstCol="1" bandRow="1" bandCol="1"/>
              <a:tblGrid>
                <a:gridCol w="2705368">
                  <a:extLst>
                    <a:ext uri="{9D8B030D-6E8A-4147-A177-3AD203B41FA5}">
                      <a16:colId xmlns:a16="http://schemas.microsoft.com/office/drawing/2014/main" val="2190402766"/>
                    </a:ext>
                  </a:extLst>
                </a:gridCol>
                <a:gridCol w="3029533">
                  <a:extLst>
                    <a:ext uri="{9D8B030D-6E8A-4147-A177-3AD203B41FA5}">
                      <a16:colId xmlns:a16="http://schemas.microsoft.com/office/drawing/2014/main" val="593633486"/>
                    </a:ext>
                  </a:extLst>
                </a:gridCol>
              </a:tblGrid>
              <a:tr h="216000"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000" b="1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Position titl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600"/>
                    </a:solidFill>
                  </a:tcPr>
                </a:tc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hangingPunct="0">
                        <a:lnSpc>
                          <a:spcPts val="1200"/>
                        </a:lnSpc>
                        <a:spcBef>
                          <a:spcPts val="480"/>
                        </a:spcBef>
                        <a:spcAft>
                          <a:spcPts val="480"/>
                        </a:spcAft>
                      </a:pPr>
                      <a:r>
                        <a:rPr lang="en-US" sz="1000" kern="600" noProof="0" dirty="0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8203217"/>
                  </a:ext>
                </a:extLst>
              </a:tr>
              <a:tr h="216000"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8160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Expert's name: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000" b="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Siwar Ben Khelifa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894144"/>
                  </a:ext>
                </a:extLst>
              </a:tr>
              <a:tr h="216000"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000" b="1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Date of birth: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8160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08/04/1998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6916561"/>
                  </a:ext>
                </a:extLst>
              </a:tr>
              <a:tr h="216000"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13206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Nationality / Country of residence: 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000" b="1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Tunisia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3283065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33DD1426-6A9C-4A52-B5FB-A50E73CBB3C9}"/>
              </a:ext>
            </a:extLst>
          </p:cNvPr>
          <p:cNvSpPr/>
          <p:nvPr/>
        </p:nvSpPr>
        <p:spPr>
          <a:xfrm>
            <a:off x="474984" y="1548787"/>
            <a:ext cx="798808" cy="2354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0">
              <a:lnSpc>
                <a:spcPts val="1200"/>
              </a:lnSpc>
            </a:pPr>
            <a:r>
              <a:rPr lang="en-GB" sz="900" b="1" u="sng" kern="600" dirty="0">
                <a:latin typeface="EYInterstate" panose="02000503020000020004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Education :</a:t>
            </a:r>
            <a:endParaRPr lang="fr-FR" sz="1000" kern="600" dirty="0">
              <a:latin typeface="EYInterstate Ligh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1" name="Table 41">
            <a:extLst>
              <a:ext uri="{FF2B5EF4-FFF2-40B4-BE49-F238E27FC236}">
                <a16:creationId xmlns:a16="http://schemas.microsoft.com/office/drawing/2014/main" id="{B0D89A42-ED02-4B3B-913C-A1F7372926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0249216"/>
              </p:ext>
            </p:extLst>
          </p:nvPr>
        </p:nvGraphicFramePr>
        <p:xfrm>
          <a:off x="556266" y="1782825"/>
          <a:ext cx="5734901" cy="1217026"/>
        </p:xfrm>
        <a:graphic>
          <a:graphicData uri="http://schemas.openxmlformats.org/drawingml/2006/table">
            <a:tbl>
              <a:tblPr firstRow="1" bandRow="1"/>
              <a:tblGrid>
                <a:gridCol w="1224664">
                  <a:extLst>
                    <a:ext uri="{9D8B030D-6E8A-4147-A177-3AD203B41FA5}">
                      <a16:colId xmlns:a16="http://schemas.microsoft.com/office/drawing/2014/main" val="2620086181"/>
                    </a:ext>
                  </a:extLst>
                </a:gridCol>
                <a:gridCol w="1504019">
                  <a:extLst>
                    <a:ext uri="{9D8B030D-6E8A-4147-A177-3AD203B41FA5}">
                      <a16:colId xmlns:a16="http://schemas.microsoft.com/office/drawing/2014/main" val="4273064369"/>
                    </a:ext>
                  </a:extLst>
                </a:gridCol>
                <a:gridCol w="1154980">
                  <a:extLst>
                    <a:ext uri="{9D8B030D-6E8A-4147-A177-3AD203B41FA5}">
                      <a16:colId xmlns:a16="http://schemas.microsoft.com/office/drawing/2014/main" val="4293607718"/>
                    </a:ext>
                  </a:extLst>
                </a:gridCol>
                <a:gridCol w="1851238">
                  <a:extLst>
                    <a:ext uri="{9D8B030D-6E8A-4147-A177-3AD203B41FA5}">
                      <a16:colId xmlns:a16="http://schemas.microsoft.com/office/drawing/2014/main" val="1746818523"/>
                    </a:ext>
                  </a:extLst>
                </a:gridCol>
              </a:tblGrid>
              <a:tr h="230626"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1320647" rtl="0" eaLnBrk="1" fontAlgn="auto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600" noProof="0" dirty="0">
                          <a:effectLst/>
                          <a:latin typeface="EYInterstate" panose="02000503020000020004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ype of studies</a:t>
                      </a:r>
                      <a:endParaRPr lang="en-US" sz="1000" kern="600" noProof="0" dirty="0">
                        <a:effectLst/>
                        <a:latin typeface="EYInterstate" panose="02000503020000020004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00" marR="6750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hangingPunct="0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US" sz="900" b="1" kern="600" noProof="0" dirty="0">
                          <a:effectLst/>
                          <a:latin typeface="EYInterstate" panose="02000503020000020004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stablishment</a:t>
                      </a:r>
                      <a:endParaRPr lang="en-US" sz="1000" kern="600" noProof="0" dirty="0">
                        <a:solidFill>
                          <a:schemeClr val="tx1"/>
                        </a:solidFill>
                        <a:effectLst/>
                        <a:latin typeface="EYInterstate Light" panose="02000506000000020004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00" marR="6750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hangingPunct="0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US" sz="900" b="1" kern="600" noProof="0" dirty="0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000" kern="600" noProof="0" dirty="0">
                        <a:solidFill>
                          <a:schemeClr val="tx1"/>
                        </a:solidFill>
                        <a:effectLst/>
                        <a:latin typeface="EYInterstate Light" panose="02000506000000020004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00" marR="6750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hangingPunct="0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US" sz="900" b="1" kern="600" noProof="0" dirty="0">
                          <a:effectLst/>
                          <a:latin typeface="EYInterstate" panose="02000503020000020004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egree obtained</a:t>
                      </a:r>
                      <a:endParaRPr lang="en-US" sz="1000" kern="600" noProof="0" dirty="0">
                        <a:solidFill>
                          <a:schemeClr val="tx1"/>
                        </a:solidFill>
                        <a:effectLst/>
                        <a:latin typeface="EYInterstate Light" panose="02000506000000020004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00" marR="6750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1298675"/>
                  </a:ext>
                </a:extLst>
              </a:tr>
              <a:tr h="303751"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10181" lvl="1" indent="0" algn="ctr" defTabSz="521322">
                        <a:spcAft>
                          <a:spcPct val="0"/>
                        </a:spcAft>
                        <a:buClr>
                          <a:srgbClr val="FFC000"/>
                        </a:buClr>
                        <a:buSzPct val="80000"/>
                        <a:buFont typeface="Wingdings" panose="05000000000000000000" pitchFamily="2" charset="2"/>
                        <a:buNone/>
                      </a:pPr>
                      <a:r>
                        <a:rPr lang="en-US" altLang="fr-FR" sz="1000" b="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cs typeface="Arial" charset="0"/>
                        </a:rPr>
                        <a:t>Master</a:t>
                      </a:r>
                    </a:p>
                  </a:txBody>
                  <a:tcPr marL="45720" marR="45720" marT="18000" marB="180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fr-FR" sz="1000" b="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cs typeface="Arial" charset="0"/>
                        </a:rPr>
                        <a:t>Higher Institute of Management of Tunis</a:t>
                      </a:r>
                      <a:br>
                        <a:rPr lang="en-US" altLang="fr-FR" sz="1000" b="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cs typeface="Arial" charset="0"/>
                        </a:rPr>
                      </a:br>
                      <a:r>
                        <a:rPr lang="en-US" altLang="fr-FR" sz="1000" b="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cs typeface="Arial" charset="0"/>
                        </a:rPr>
                        <a:t>(ISG Tunis)</a:t>
                      </a:r>
                    </a:p>
                  </a:txBody>
                  <a:tcPr marL="45720" marR="45720" marT="18000" marB="180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8160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2022</a:t>
                      </a:r>
                    </a:p>
                  </a:txBody>
                  <a:tcPr marL="45720" marR="45720" marT="18000" marB="180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10181" marR="0" lvl="1" indent="0" algn="ctr" defTabSz="5213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FFC000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fr-FR" sz="1000" b="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cs typeface="Arial" charset="0"/>
                        </a:rPr>
                        <a:t>Master’s degree in Economics and Business Intelligence </a:t>
                      </a:r>
                    </a:p>
                  </a:txBody>
                  <a:tcPr marL="45720" marR="45720" marT="18000" marB="180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2261772"/>
                  </a:ext>
                </a:extLst>
              </a:tr>
              <a:tr h="303751">
                <a:tc>
                  <a:txBody>
                    <a:bodyPr/>
                    <a:lstStyle/>
                    <a:p>
                      <a:pPr marL="110181" lvl="1" indent="0" algn="ctr" defTabSz="521322">
                        <a:spcAft>
                          <a:spcPct val="0"/>
                        </a:spcAft>
                        <a:buClr>
                          <a:srgbClr val="FFC000"/>
                        </a:buClr>
                        <a:buSzPct val="80000"/>
                        <a:buFont typeface="Wingdings" panose="05000000000000000000" pitchFamily="2" charset="2"/>
                        <a:buNone/>
                      </a:pPr>
                      <a:r>
                        <a:rPr lang="en-US" altLang="fr-FR" sz="1000" b="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cs typeface="Arial" charset="0"/>
                        </a:rPr>
                        <a:t>Bachelor</a:t>
                      </a:r>
                    </a:p>
                  </a:txBody>
                  <a:tcPr marL="45720" marR="45720" marT="18000" marB="180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fr-FR" sz="1000" b="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cs typeface="Arial" charset="0"/>
                        </a:rPr>
                        <a:t>Higher School of Business of Tunis </a:t>
                      </a:r>
                      <a:br>
                        <a:rPr lang="en-US" altLang="fr-FR" sz="1000" b="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cs typeface="Arial" charset="0"/>
                        </a:rPr>
                      </a:br>
                      <a:r>
                        <a:rPr lang="en-US" altLang="fr-FR" sz="1000" b="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cs typeface="Arial" charset="0"/>
                        </a:rPr>
                        <a:t>(ESC Tunis) </a:t>
                      </a:r>
                    </a:p>
                  </a:txBody>
                  <a:tcPr marL="45720" marR="45720" marT="18000" marB="180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60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2020</a:t>
                      </a:r>
                    </a:p>
                  </a:txBody>
                  <a:tcPr marL="45720" marR="45720" marT="18000" marB="180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0181" marR="0" lvl="1" indent="0" algn="ctr" defTabSz="5213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FFC000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fr-FR" sz="1000" b="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cs typeface="Arial" charset="0"/>
                        </a:rPr>
                        <a:t>Bachelor's degree in Economics</a:t>
                      </a:r>
                    </a:p>
                  </a:txBody>
                  <a:tcPr marL="45720" marR="45720" marT="18000" marB="180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0961835"/>
                  </a:ext>
                </a:extLst>
              </a:tr>
            </a:tbl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0532AA7-FCAC-49AE-9BA1-FF7C9D984509}"/>
              </a:ext>
            </a:extLst>
          </p:cNvPr>
          <p:cNvSpPr/>
          <p:nvPr/>
        </p:nvSpPr>
        <p:spPr>
          <a:xfrm>
            <a:off x="474984" y="3055153"/>
            <a:ext cx="4594224" cy="2308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 hangingPunct="0"/>
            <a:r>
              <a:rPr lang="en-US" sz="900" b="1" u="sng" kern="600" dirty="0">
                <a:latin typeface="EYInterstate" panose="02000503020000020004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Professional references relevant to the assignment:</a:t>
            </a:r>
            <a:endParaRPr lang="fr-FR" sz="1000" kern="600" dirty="0">
              <a:latin typeface="EYInterstate Ligh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3" name="Table 43">
            <a:extLst>
              <a:ext uri="{FF2B5EF4-FFF2-40B4-BE49-F238E27FC236}">
                <a16:creationId xmlns:a16="http://schemas.microsoft.com/office/drawing/2014/main" id="{A972D713-2EE4-4EEF-8EE6-E237455356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3372311"/>
              </p:ext>
            </p:extLst>
          </p:nvPr>
        </p:nvGraphicFramePr>
        <p:xfrm>
          <a:off x="556266" y="3306305"/>
          <a:ext cx="5759449" cy="6034011"/>
        </p:xfrm>
        <a:graphic>
          <a:graphicData uri="http://schemas.openxmlformats.org/drawingml/2006/table">
            <a:tbl>
              <a:tblPr firstRow="1" firstCol="1" bandRow="1" bandCol="1"/>
              <a:tblGrid>
                <a:gridCol w="630052">
                  <a:extLst>
                    <a:ext uri="{9D8B030D-6E8A-4147-A177-3AD203B41FA5}">
                      <a16:colId xmlns:a16="http://schemas.microsoft.com/office/drawing/2014/main" val="3818805818"/>
                    </a:ext>
                  </a:extLst>
                </a:gridCol>
                <a:gridCol w="806824">
                  <a:extLst>
                    <a:ext uri="{9D8B030D-6E8A-4147-A177-3AD203B41FA5}">
                      <a16:colId xmlns:a16="http://schemas.microsoft.com/office/drawing/2014/main" val="1154945732"/>
                    </a:ext>
                  </a:extLst>
                </a:gridCol>
                <a:gridCol w="537882">
                  <a:extLst>
                    <a:ext uri="{9D8B030D-6E8A-4147-A177-3AD203B41FA5}">
                      <a16:colId xmlns:a16="http://schemas.microsoft.com/office/drawing/2014/main" val="1221877252"/>
                    </a:ext>
                  </a:extLst>
                </a:gridCol>
                <a:gridCol w="3784691">
                  <a:extLst>
                    <a:ext uri="{9D8B030D-6E8A-4147-A177-3AD203B41FA5}">
                      <a16:colId xmlns:a16="http://schemas.microsoft.com/office/drawing/2014/main" val="625997630"/>
                    </a:ext>
                  </a:extLst>
                </a:gridCol>
              </a:tblGrid>
              <a:tr h="387591"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hangingPunct="0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600" noProof="0" dirty="0">
                          <a:effectLst/>
                          <a:latin typeface="EYInterstate" panose="02000503020000020004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eriod</a:t>
                      </a:r>
                      <a:endParaRPr lang="en-US" sz="1000" kern="600" noProof="0" dirty="0">
                        <a:solidFill>
                          <a:schemeClr val="tx1"/>
                        </a:solidFill>
                        <a:effectLst/>
                        <a:latin typeface="EYInterstate" panose="02000503020000020004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134" marR="1513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hangingPunct="0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600" noProof="0" dirty="0">
                          <a:effectLst/>
                          <a:latin typeface="EYInterstate" panose="02000503020000020004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rganization and title</a:t>
                      </a:r>
                      <a:endParaRPr lang="en-US" sz="1000" kern="600" noProof="0" dirty="0">
                        <a:solidFill>
                          <a:schemeClr val="tx1"/>
                        </a:solidFill>
                        <a:effectLst/>
                        <a:latin typeface="EYInterstate" panose="02000503020000020004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134" marR="1513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hangingPunct="0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600" noProof="0" dirty="0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untry</a:t>
                      </a:r>
                      <a:endParaRPr lang="en-US" sz="1000" kern="600" noProof="0" dirty="0">
                        <a:solidFill>
                          <a:schemeClr val="tx1"/>
                        </a:solidFill>
                        <a:effectLst/>
                        <a:latin typeface="EYInterstate" panose="02000503020000020004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134" marR="1513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hangingPunct="0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200" noProof="0" dirty="0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+mn-ea"/>
                          <a:cs typeface="+mn-cs"/>
                        </a:rPr>
                        <a:t>Summary of mission-related activities</a:t>
                      </a:r>
                      <a:endParaRPr lang="en-US" sz="1000" kern="600" noProof="0" dirty="0">
                        <a:solidFill>
                          <a:schemeClr val="tx1"/>
                        </a:solidFill>
                        <a:effectLst/>
                        <a:latin typeface="EYInterstate" panose="02000503020000020004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134" marR="1513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4326363"/>
                  </a:ext>
                </a:extLst>
              </a:tr>
              <a:tr h="3318248"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1" indent="0" algn="ctr" defTabSz="685800" rtl="0" eaLnBrk="1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75000"/>
                        <a:buFont typeface="EYInterstate Light" panose="02000506000000020004" pitchFamily="2" charset="0"/>
                        <a:buNone/>
                        <a:tabLst/>
                        <a:defRPr/>
                      </a:pPr>
                      <a:r>
                        <a:rPr lang="en-US" sz="900" b="1" kern="600" noProof="0" dirty="0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2023 - present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685800" rtl="0" eaLnBrk="1" latinLnBrk="0" hangingPunct="0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US" sz="900" b="1" kern="600" noProof="0" dirty="0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Y Tunisia</a:t>
                      </a:r>
                      <a:endParaRPr lang="en-US" sz="900" b="1" kern="600" noProof="0" dirty="0">
                        <a:solidFill>
                          <a:schemeClr val="tx1"/>
                        </a:solidFill>
                        <a:effectLst/>
                        <a:latin typeface="EYInterstate" panose="02000503020000020004" pitchFamily="2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marL="0" algn="ctr" defTabSz="685800" rtl="0" eaLnBrk="1" latinLnBrk="0" hangingPunct="0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US" sz="900" kern="600" noProof="0" dirty="0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nsultant -Financial Services</a:t>
                      </a:r>
                      <a:endParaRPr lang="en-US" sz="900" kern="600" noProof="0" dirty="0">
                        <a:solidFill>
                          <a:schemeClr val="tx1"/>
                        </a:solidFill>
                        <a:effectLst/>
                        <a:latin typeface="EYInterstate" panose="02000503020000020004" pitchFamily="2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5134" marR="1513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685800" rtl="0" eaLnBrk="1" latinLnBrk="0" hangingPunct="0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US" sz="900" b="1" kern="600" noProof="0" dirty="0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unisia</a:t>
                      </a:r>
                    </a:p>
                  </a:txBody>
                  <a:tcPr marL="15134" marR="1513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1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50" u="sng" kern="1200" noProof="0" dirty="0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+mn-ea"/>
                          <a:cs typeface="+mn-cs"/>
                        </a:rPr>
                        <a:t>Confidential (Tunisia, 2024): Organizational Audit - Review of the Group's Organizational and Governance Structure </a:t>
                      </a:r>
                    </a:p>
                    <a:p>
                      <a:pPr marL="447040" marR="0" lvl="1" indent="-180340" algn="just" rtl="0" eaLnBrk="1" fontAlgn="base" latinLnBrk="0" hangingPunct="1">
                        <a:lnSpc>
                          <a:spcPts val="931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EYInterstate"/>
                          <a:ea typeface="+mn-ea"/>
                          <a:cs typeface="Arial"/>
                        </a:rPr>
                        <a:t>Diagnosis of the existing organization and governance of the Group</a:t>
                      </a:r>
                    </a:p>
                    <a:p>
                      <a:pPr marL="904184" lvl="2" indent="-180789" algn="just" defTabSz="900044" rtl="0" eaLnBrk="1" latinLnBrk="0" hangingPunct="1">
                        <a:lnSpc>
                          <a:spcPts val="931"/>
                        </a:lnSpc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HR analysis and overview of production capacity and workflow</a:t>
                      </a:r>
                    </a:p>
                    <a:p>
                      <a:pPr marL="904184" lvl="2" indent="-180789" algn="just" defTabSz="900044" rtl="0" eaLnBrk="1" latinLnBrk="0" hangingPunct="1">
                        <a:lnSpc>
                          <a:spcPts val="931"/>
                        </a:lnSpc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Evaluation of organizational maturity</a:t>
                      </a:r>
                    </a:p>
                    <a:p>
                      <a:pPr marL="904184" lvl="2" indent="-180789" algn="just" defTabSz="900044" rtl="0" eaLnBrk="1" latinLnBrk="0" hangingPunct="1">
                        <a:lnSpc>
                          <a:spcPts val="931"/>
                        </a:lnSpc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Conducting an International Benchmark using specific selection criteria which has contributed to an enhanced analysis of regional and international best practices in group organization and governance</a:t>
                      </a:r>
                    </a:p>
                    <a:p>
                      <a:pPr marL="447040" marR="0" lvl="1" indent="-180340" algn="just" defTabSz="900044" rtl="0" eaLnBrk="1" fontAlgn="base" latinLnBrk="0" hangingPunct="1">
                        <a:lnSpc>
                          <a:spcPts val="931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EYInterstate"/>
                          <a:ea typeface="+mn-ea"/>
                          <a:cs typeface="Arial"/>
                        </a:rPr>
                        <a:t>Formulation of recommendations to enhance the group's governance framework &amp; Proposal for the target organizational structure</a:t>
                      </a:r>
                    </a:p>
                    <a:p>
                      <a:pPr marL="904184" lvl="2" indent="-180789" algn="just" defTabSz="900044" rtl="0" eaLnBrk="1" latinLnBrk="0" hangingPunct="1">
                        <a:lnSpc>
                          <a:spcPts val="931"/>
                        </a:lnSpc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Defining the guiding principles of the target organizational and governance model in response to the key findings identified during the diagnostic phase</a:t>
                      </a:r>
                    </a:p>
                    <a:p>
                      <a:pPr marL="904184" lvl="2" indent="-180789" algn="just" defTabSz="900044" rtl="0" eaLnBrk="1" latinLnBrk="0" hangingPunct="1">
                        <a:lnSpc>
                          <a:spcPts val="931"/>
                        </a:lnSpc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Developing potential scenarios for the target organizational model</a:t>
                      </a:r>
                    </a:p>
                    <a:p>
                      <a:pPr marL="904184" lvl="2" indent="-180789" algn="just" defTabSz="900044" rtl="0" eaLnBrk="1" latinLnBrk="0" hangingPunct="1">
                        <a:lnSpc>
                          <a:spcPts val="931"/>
                        </a:lnSpc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Designing the Group's target organizational model by integrating architectural standards, best practices, organizational culture styles, and aligning with the group's values</a:t>
                      </a:r>
                    </a:p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900" noProof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  <a:cs typeface="Arial" panose="020B0604020202020204" pitchFamily="34" charset="0"/>
                      </a:endParaRPr>
                    </a:p>
                    <a:p>
                      <a:pPr marL="0" marR="0" lvl="1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50" u="sng" kern="1200" noProof="0" dirty="0" err="1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+mn-ea"/>
                          <a:cs typeface="+mn-cs"/>
                        </a:rPr>
                        <a:t>Wifak</a:t>
                      </a:r>
                      <a:r>
                        <a:rPr lang="en-US" sz="950" u="sng" kern="1200" noProof="0" dirty="0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+mn-ea"/>
                          <a:cs typeface="+mn-cs"/>
                        </a:rPr>
                        <a:t> Bank (Tunisia, 2023): Assistance in the development of </a:t>
                      </a:r>
                      <a:r>
                        <a:rPr lang="en-US" sz="950" u="sng" kern="1200" noProof="0" dirty="0" err="1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+mn-ea"/>
                          <a:cs typeface="+mn-cs"/>
                        </a:rPr>
                        <a:t>Wifak</a:t>
                      </a:r>
                      <a:r>
                        <a:rPr lang="en-US" sz="950" u="sng" kern="1200" noProof="0" dirty="0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+mn-ea"/>
                          <a:cs typeface="+mn-cs"/>
                        </a:rPr>
                        <a:t> Group's strategic plan for the horizon of 2027</a:t>
                      </a:r>
                      <a:endParaRPr lang="en-US" sz="900" kern="1200" noProof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447212" marR="0" lvl="1" indent="-180789" algn="just" defTabSz="900044" rtl="0" eaLnBrk="1" fontAlgn="base" latinLnBrk="0" hangingPunct="1">
                        <a:lnSpc>
                          <a:spcPts val="931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Conducting a diagnosis of WIFAK Bank </a:t>
                      </a:r>
                    </a:p>
                    <a:p>
                      <a:pPr marL="904184" lvl="2" indent="-180789" algn="just" defTabSz="900044" rtl="0" eaLnBrk="1" latinLnBrk="0" hangingPunct="1">
                        <a:lnSpc>
                          <a:spcPts val="931"/>
                        </a:lnSpc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Analysis of organizational maturity focusing on HR capabilities and structures, along with portfolio analysis</a:t>
                      </a:r>
                    </a:p>
                    <a:p>
                      <a:pPr marL="904184" lvl="2" indent="-180789" algn="just" defTabSz="900044" rtl="0" eaLnBrk="1" latinLnBrk="0" hangingPunct="1">
                        <a:lnSpc>
                          <a:spcPts val="931"/>
                        </a:lnSpc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Evaluation of the effectiveness and efficiency of the sales system</a:t>
                      </a:r>
                    </a:p>
                    <a:p>
                      <a:pPr marL="904184" lvl="2" indent="-180789" algn="just" defTabSz="900044" rtl="0" eaLnBrk="1" latinLnBrk="0" hangingPunct="1">
                        <a:lnSpc>
                          <a:spcPts val="931"/>
                        </a:lnSpc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Assessment of operational maturity, including processes and workflows</a:t>
                      </a:r>
                    </a:p>
                    <a:p>
                      <a:pPr marL="904184" lvl="2" indent="-180789" algn="just" defTabSz="900044" rtl="0" eaLnBrk="1" latinLnBrk="0" hangingPunct="1">
                        <a:lnSpc>
                          <a:spcPts val="931"/>
                        </a:lnSpc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Examination of the company's positioning within the national market and benchmarking against industry peers, as well as gathering insights from international best practices </a:t>
                      </a:r>
                    </a:p>
                    <a:p>
                      <a:pPr marL="447212" marR="0" lvl="1" indent="-180789" algn="just" defTabSz="900044" rtl="0" eaLnBrk="1" fontAlgn="base" latinLnBrk="0" hangingPunct="1">
                        <a:lnSpc>
                          <a:spcPts val="931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Strategic planning for </a:t>
                      </a:r>
                      <a:r>
                        <a:rPr lang="en-US" sz="900" kern="1200" noProof="0" dirty="0" err="1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Wifak</a:t>
                      </a:r>
                      <a:r>
                        <a:rPr lang="en-US" sz="900" kern="120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 Group: Developing the 2027 vision</a:t>
                      </a:r>
                    </a:p>
                    <a:p>
                      <a:pPr marL="447212" marR="0" lvl="1" indent="-180789" algn="just" defTabSz="900044" rtl="0" eaLnBrk="1" fontAlgn="base" latinLnBrk="0" hangingPunct="1">
                        <a:lnSpc>
                          <a:spcPts val="931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Defining the bank’s growth strategy</a:t>
                      </a:r>
                    </a:p>
                    <a:p>
                      <a:pPr marL="447212" marR="0" lvl="1" indent="-180789" algn="just" defTabSz="900044" rtl="0" eaLnBrk="1" fontAlgn="base" latinLnBrk="0" hangingPunct="1">
                        <a:lnSpc>
                          <a:spcPts val="931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Creation of </a:t>
                      </a:r>
                      <a:r>
                        <a:rPr lang="en-US" sz="900" kern="1200" noProof="0" dirty="0" err="1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wifak</a:t>
                      </a:r>
                      <a:r>
                        <a:rPr lang="en-US" sz="900" kern="120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 group's roadmap and development of the business plan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87709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32086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43">
            <a:extLst>
              <a:ext uri="{FF2B5EF4-FFF2-40B4-BE49-F238E27FC236}">
                <a16:creationId xmlns:a16="http://schemas.microsoft.com/office/drawing/2014/main" id="{B764D311-D18B-F5CA-B615-DEF552CF8B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9366855"/>
              </p:ext>
            </p:extLst>
          </p:nvPr>
        </p:nvGraphicFramePr>
        <p:xfrm>
          <a:off x="566736" y="345391"/>
          <a:ext cx="5759449" cy="5330195"/>
        </p:xfrm>
        <a:graphic>
          <a:graphicData uri="http://schemas.openxmlformats.org/drawingml/2006/table">
            <a:tbl>
              <a:tblPr firstRow="1" firstCol="1" bandRow="1" bandCol="1"/>
              <a:tblGrid>
                <a:gridCol w="603158">
                  <a:extLst>
                    <a:ext uri="{9D8B030D-6E8A-4147-A177-3AD203B41FA5}">
                      <a16:colId xmlns:a16="http://schemas.microsoft.com/office/drawing/2014/main" val="3818805818"/>
                    </a:ext>
                  </a:extLst>
                </a:gridCol>
                <a:gridCol w="847165">
                  <a:extLst>
                    <a:ext uri="{9D8B030D-6E8A-4147-A177-3AD203B41FA5}">
                      <a16:colId xmlns:a16="http://schemas.microsoft.com/office/drawing/2014/main" val="1154945732"/>
                    </a:ext>
                  </a:extLst>
                </a:gridCol>
                <a:gridCol w="537882">
                  <a:extLst>
                    <a:ext uri="{9D8B030D-6E8A-4147-A177-3AD203B41FA5}">
                      <a16:colId xmlns:a16="http://schemas.microsoft.com/office/drawing/2014/main" val="1221877252"/>
                    </a:ext>
                  </a:extLst>
                </a:gridCol>
                <a:gridCol w="3771244">
                  <a:extLst>
                    <a:ext uri="{9D8B030D-6E8A-4147-A177-3AD203B41FA5}">
                      <a16:colId xmlns:a16="http://schemas.microsoft.com/office/drawing/2014/main" val="625997630"/>
                    </a:ext>
                  </a:extLst>
                </a:gridCol>
              </a:tblGrid>
              <a:tr h="243460"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hangingPunct="0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600" noProof="0" dirty="0">
                          <a:effectLst/>
                          <a:latin typeface="EYInterstate" panose="02000503020000020004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eriod</a:t>
                      </a:r>
                      <a:endParaRPr lang="en-US" sz="1000" kern="600" noProof="0" dirty="0">
                        <a:solidFill>
                          <a:schemeClr val="tx1"/>
                        </a:solidFill>
                        <a:effectLst/>
                        <a:latin typeface="EYInterstate" panose="02000503020000020004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134" marR="1513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hangingPunct="0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600" noProof="0" dirty="0">
                          <a:effectLst/>
                          <a:latin typeface="EYInterstate" panose="02000503020000020004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rganization and title</a:t>
                      </a:r>
                      <a:endParaRPr lang="en-US" sz="1000" kern="600" noProof="0" dirty="0">
                        <a:solidFill>
                          <a:schemeClr val="tx1"/>
                        </a:solidFill>
                        <a:effectLst/>
                        <a:latin typeface="EYInterstate" panose="02000503020000020004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134" marR="1513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hangingPunct="0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600" noProof="0" dirty="0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untry</a:t>
                      </a:r>
                      <a:endParaRPr lang="en-US" sz="1000" kern="600" noProof="0" dirty="0">
                        <a:solidFill>
                          <a:schemeClr val="tx1"/>
                        </a:solidFill>
                        <a:effectLst/>
                        <a:latin typeface="EYInterstate" panose="02000503020000020004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134" marR="1513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hangingPunct="0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200" noProof="0" dirty="0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+mn-ea"/>
                          <a:cs typeface="+mn-cs"/>
                        </a:rPr>
                        <a:t>Summary of mission-related activities</a:t>
                      </a:r>
                      <a:endParaRPr lang="en-US" sz="1000" kern="600" noProof="0" dirty="0">
                        <a:solidFill>
                          <a:schemeClr val="tx1"/>
                        </a:solidFill>
                        <a:effectLst/>
                        <a:latin typeface="EYInterstate" panose="02000503020000020004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5134" marR="1513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4326363"/>
                  </a:ext>
                </a:extLst>
              </a:tr>
              <a:tr h="5025395"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1" indent="0" algn="ctr" defTabSz="685800" rtl="0" eaLnBrk="1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75000"/>
                        <a:buFont typeface="EYInterstate Light" panose="02000506000000020004" pitchFamily="2" charset="0"/>
                        <a:buNone/>
                        <a:tabLst/>
                        <a:defRPr/>
                      </a:pPr>
                      <a:r>
                        <a:rPr lang="en-US" sz="900" b="1" kern="600" noProof="0" dirty="0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2022 - present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685800" rtl="0" eaLnBrk="1" latinLnBrk="0" hangingPunct="0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US" sz="900" b="1" kern="600" noProof="0" dirty="0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Y Tunisia</a:t>
                      </a:r>
                      <a:endParaRPr lang="en-US" sz="900" b="1" kern="600" noProof="0" dirty="0">
                        <a:solidFill>
                          <a:schemeClr val="tx1"/>
                        </a:solidFill>
                        <a:effectLst/>
                        <a:latin typeface="EYInterstate" panose="02000503020000020004" pitchFamily="2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marL="0" algn="ctr" defTabSz="685800" rtl="0" eaLnBrk="1" latinLnBrk="0" hangingPunct="0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US" sz="900" kern="600" noProof="0" dirty="0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nsultant -Financial Services</a:t>
                      </a:r>
                      <a:endParaRPr lang="en-US" sz="900" kern="600" noProof="0" dirty="0">
                        <a:solidFill>
                          <a:schemeClr val="tx1"/>
                        </a:solidFill>
                        <a:effectLst/>
                        <a:latin typeface="EYInterstate" panose="02000503020000020004" pitchFamily="2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5134" marR="1513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685800" rtl="0" eaLnBrk="1" latinLnBrk="0" hangingPunct="0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US" sz="900" b="1" kern="600" noProof="0" dirty="0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unisia</a:t>
                      </a:r>
                    </a:p>
                  </a:txBody>
                  <a:tcPr marL="15134" marR="1513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66032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320647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980973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641298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3301621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961946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4622270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5282594" algn="l" defTabSz="1320647" rtl="0" eaLnBrk="1" latinLnBrk="0" hangingPunct="1">
                        <a:defRPr sz="26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1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50" u="sng" kern="1200" noProof="0" dirty="0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+mn-ea"/>
                          <a:cs typeface="+mn-cs"/>
                        </a:rPr>
                        <a:t>Orange - Ivory Coast (Tunisia, 2023): Technical assistance for the deployment and establishment of a Fintech </a:t>
                      </a:r>
                    </a:p>
                    <a:p>
                      <a:pPr marL="447212" marR="0" lvl="1" indent="-180789" algn="just" defTabSz="900044" rtl="0" eaLnBrk="1" fontAlgn="base" latinLnBrk="0" hangingPunct="1">
                        <a:lnSpc>
                          <a:spcPts val="931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Conduct a comparative study to determine the optimal location for the headquarters</a:t>
                      </a:r>
                    </a:p>
                    <a:p>
                      <a:pPr marL="447212" marR="0" lvl="1" indent="-180789" algn="just" defTabSz="900044" rtl="0" eaLnBrk="1" fontAlgn="base" latinLnBrk="0" hangingPunct="1">
                        <a:lnSpc>
                          <a:spcPts val="931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Conduct regulatory, legal, and tax analysis, including legal form, regulatory framework examination, and obtaining necessary authorizations</a:t>
                      </a:r>
                    </a:p>
                    <a:p>
                      <a:pPr marL="447212" marR="0" lvl="1" indent="-180789" algn="just" defTabSz="900044" rtl="0" eaLnBrk="1" fontAlgn="base" latinLnBrk="0" hangingPunct="1">
                        <a:lnSpc>
                          <a:spcPts val="931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Develop target organizational scenarios for the Fintech, detailing the capital, organizational, and transactional schema (Holding company / headquarters / subsidiaries or branches)</a:t>
                      </a:r>
                    </a:p>
                    <a:p>
                      <a:pPr marL="447212" lvl="1" indent="-180789" algn="just" defTabSz="900044" rtl="0" eaLnBrk="1" latinLnBrk="0" hangingPunct="1">
                        <a:lnSpc>
                          <a:spcPts val="931"/>
                        </a:lnSpc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endParaRPr lang="en-US" sz="900" kern="1200" noProof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1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50" u="sng" kern="1200" noProof="0" dirty="0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+mn-ea"/>
                          <a:cs typeface="+mn-cs"/>
                        </a:rPr>
                        <a:t>African Development Bank (AfDB) (Tunisia, 2022):  Assessment of the potential benefits and costs of the African Continental Free Trade Area (</a:t>
                      </a:r>
                      <a:r>
                        <a:rPr lang="en-US" sz="950" u="sng" kern="1200" noProof="0" dirty="0" err="1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+mn-ea"/>
                          <a:cs typeface="+mn-cs"/>
                        </a:rPr>
                        <a:t>AfCFTA</a:t>
                      </a:r>
                      <a:r>
                        <a:rPr lang="en-US" sz="950" u="sng" kern="1200" noProof="0" dirty="0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  <a:ea typeface="+mn-ea"/>
                          <a:cs typeface="+mn-cs"/>
                        </a:rPr>
                        <a:t>) on African Economies with an application to the North African Region</a:t>
                      </a:r>
                    </a:p>
                    <a:p>
                      <a:pPr marL="447212" marR="0" lvl="1" indent="-180789" algn="just" defTabSz="900044" rtl="0" eaLnBrk="1" fontAlgn="base" latinLnBrk="0" hangingPunct="1">
                        <a:lnSpc>
                          <a:spcPts val="931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Macroeconomic analysis of the national contexts in each of the 6 North African countries in the light of the current international context</a:t>
                      </a:r>
                    </a:p>
                    <a:p>
                      <a:pPr marL="447212" marR="0" lvl="1" indent="-180789" algn="just" defTabSz="900044" rtl="0" eaLnBrk="1" fontAlgn="base" latinLnBrk="0" hangingPunct="1">
                        <a:lnSpc>
                          <a:spcPts val="931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Overview of the private sector’s current state in these 6 countries and its features, with an emphasis on the main growth drivers and the major obstacles surrounding its emergence (regulation, infrastructure, fiscal policies, business climate…) </a:t>
                      </a:r>
                    </a:p>
                    <a:p>
                      <a:pPr marL="447212" marR="0" lvl="1" indent="-180789" algn="just" defTabSz="900044" rtl="0" eaLnBrk="1" fontAlgn="base" latinLnBrk="0" hangingPunct="1">
                        <a:lnSpc>
                          <a:spcPts val="931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Analysis of the current state of trade in the 6 countries, in terms of traded products and services, and trading partners</a:t>
                      </a:r>
                    </a:p>
                    <a:p>
                      <a:pPr marL="447212" marR="0" lvl="1" indent="-180789" algn="just" defTabSz="900044" rtl="0" eaLnBrk="1" fontAlgn="base" latinLnBrk="0" hangingPunct="1">
                        <a:lnSpc>
                          <a:spcPts val="931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Analysis of the current state of regional integration in North Africa, and of the tariff and non-tariff barriers in existence, including barriers related to the infrastructure</a:t>
                      </a:r>
                    </a:p>
                    <a:p>
                      <a:pPr marL="447212" marR="0" lvl="1" indent="-180789" algn="just" defTabSz="900044" rtl="0" eaLnBrk="1" fontAlgn="base" latinLnBrk="0" hangingPunct="1">
                        <a:lnSpc>
                          <a:spcPts val="931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Analysis of the trade framework in North African countries, with a detailed overview of trade agreements in place</a:t>
                      </a:r>
                    </a:p>
                    <a:p>
                      <a:pPr marL="447212" marR="0" lvl="1" indent="-180789" algn="just" defTabSz="900044" rtl="0" eaLnBrk="1" fontAlgn="base" latinLnBrk="0" hangingPunct="1">
                        <a:lnSpc>
                          <a:spcPts val="931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Collaboration with experts to understand the modelling framework and interpretation of the results</a:t>
                      </a:r>
                    </a:p>
                    <a:p>
                      <a:pPr marL="447212" marR="0" lvl="1" indent="-180789" algn="just" defTabSz="900044" rtl="0" eaLnBrk="1" fontAlgn="base" latinLnBrk="0" hangingPunct="1">
                        <a:lnSpc>
                          <a:spcPts val="931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E600"/>
                        </a:buClr>
                        <a:buSzPct val="80000"/>
                        <a:buFont typeface="Arial" panose="020B0604020202020204" pitchFamily="34" charset="0"/>
                        <a:buChar char="•"/>
                        <a:tabLst>
                          <a:tab pos="192943" algn="l"/>
                        </a:tabLst>
                        <a:defRPr/>
                      </a:pPr>
                      <a:r>
                        <a:rPr lang="en-US" sz="900" kern="1200" noProof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  <a:ea typeface="+mn-ea"/>
                          <a:cs typeface="Arial" panose="020B0604020202020204" pitchFamily="34" charset="0"/>
                        </a:rPr>
                        <a:t>Provide recommendations at the national level and for the regional value chain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8770982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E68A1E60-BF79-D184-352D-0BD535D45B38}"/>
              </a:ext>
            </a:extLst>
          </p:cNvPr>
          <p:cNvSpPr/>
          <p:nvPr/>
        </p:nvSpPr>
        <p:spPr>
          <a:xfrm>
            <a:off x="463335" y="5843456"/>
            <a:ext cx="5759449" cy="17765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hangingPunct="0">
              <a:lnSpc>
                <a:spcPts val="1200"/>
              </a:lnSpc>
            </a:pPr>
            <a:r>
              <a:rPr lang="en-US" sz="900" b="1" u="sng" kern="600" dirty="0">
                <a:solidFill>
                  <a:prstClr val="black"/>
                </a:solidFill>
                <a:latin typeface="EYInterstate" panose="02000503020000020004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Membership of professional associations and publications</a:t>
            </a:r>
            <a:r>
              <a:rPr lang="en-US" sz="900" kern="600" dirty="0">
                <a:solidFill>
                  <a:prstClr val="black"/>
                </a:solidFill>
                <a:latin typeface="EYInterstate" panose="02000503020000020004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: N/A</a:t>
            </a:r>
            <a:endParaRPr lang="en-US" sz="1000" kern="600" dirty="0">
              <a:solidFill>
                <a:prstClr val="black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457200" hangingPunct="0">
              <a:lnSpc>
                <a:spcPts val="1200"/>
              </a:lnSpc>
            </a:pPr>
            <a:r>
              <a:rPr lang="en-US" sz="900" b="1" u="sng" kern="600" dirty="0">
                <a:solidFill>
                  <a:prstClr val="black"/>
                </a:solidFill>
                <a:latin typeface="EYInterstate" panose="02000503020000020004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Language skills: </a:t>
            </a:r>
            <a:r>
              <a:rPr lang="en-US" sz="900" kern="600" dirty="0">
                <a:solidFill>
                  <a:prstClr val="black"/>
                </a:solidFill>
                <a:latin typeface="EYInterstate" panose="02000503020000020004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French, English, Arabic</a:t>
            </a:r>
            <a:endParaRPr lang="en-US" sz="1000" kern="600" dirty="0">
              <a:solidFill>
                <a:prstClr val="black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457200" hangingPunct="0">
              <a:lnSpc>
                <a:spcPts val="1200"/>
              </a:lnSpc>
            </a:pPr>
            <a:r>
              <a:rPr lang="en-US" sz="900" b="1" u="sng" kern="600" dirty="0">
                <a:solidFill>
                  <a:prstClr val="black"/>
                </a:solidFill>
                <a:latin typeface="EYInterstate" panose="02000503020000020004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Expert's contact details:</a:t>
            </a:r>
          </a:p>
          <a:p>
            <a:pPr defTabSz="457200" hangingPunct="0">
              <a:lnSpc>
                <a:spcPts val="1200"/>
              </a:lnSpc>
            </a:pPr>
            <a:r>
              <a:rPr lang="en-US" sz="900" kern="600" dirty="0">
                <a:solidFill>
                  <a:prstClr val="black"/>
                </a:solidFill>
                <a:latin typeface="EYInterstate" panose="02000503020000020004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E-mail: </a:t>
            </a:r>
            <a:r>
              <a:rPr lang="en-US" sz="900" dirty="0">
                <a:solidFill>
                  <a:srgbClr val="010024"/>
                </a:solidFill>
                <a:latin typeface="EYInterstate" panose="02000503020000020004" pitchFamily="2" charset="0"/>
                <a:hlinkClick r:id="rId2"/>
              </a:rPr>
              <a:t>siwar.ben.khelifa@tn.ey.com</a:t>
            </a:r>
            <a:endParaRPr lang="en-US" sz="900" dirty="0">
              <a:solidFill>
                <a:srgbClr val="010024"/>
              </a:solidFill>
              <a:latin typeface="EYInterstate" panose="02000503020000020004" pitchFamily="2" charset="0"/>
            </a:endParaRPr>
          </a:p>
          <a:p>
            <a:pPr defTabSz="457200" hangingPunct="0">
              <a:lnSpc>
                <a:spcPts val="1200"/>
              </a:lnSpc>
            </a:pPr>
            <a:r>
              <a:rPr lang="en-US" sz="900" kern="600" dirty="0">
                <a:solidFill>
                  <a:prstClr val="black"/>
                </a:solidFill>
                <a:latin typeface="EYInterstate" panose="02000503020000020004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Phone: +216 </a:t>
            </a:r>
            <a:r>
              <a:rPr lang="en-US" sz="900" dirty="0">
                <a:solidFill>
                  <a:srgbClr val="010024"/>
                </a:solidFill>
                <a:latin typeface="EYInterstate" panose="02000503020000020004" pitchFamily="2" charset="0"/>
              </a:rPr>
              <a:t>52 865 363</a:t>
            </a:r>
          </a:p>
          <a:p>
            <a:pPr hangingPunct="0">
              <a:lnSpc>
                <a:spcPts val="1200"/>
              </a:lnSpc>
            </a:pPr>
            <a:endParaRPr lang="en-US" sz="1000" kern="600" dirty="0">
              <a:solidFill>
                <a:prstClr val="black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457200" hangingPunct="0">
              <a:lnSpc>
                <a:spcPts val="1200"/>
              </a:lnSpc>
            </a:pPr>
            <a:r>
              <a:rPr lang="en-US" sz="900" b="1" u="sng" kern="600" dirty="0">
                <a:solidFill>
                  <a:prstClr val="black"/>
                </a:solidFill>
                <a:latin typeface="EYInterstate" panose="02000503020000020004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Certification</a:t>
            </a:r>
            <a:endParaRPr lang="en-US" sz="1000" kern="600" dirty="0">
              <a:solidFill>
                <a:prstClr val="black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defTabSz="457200" hangingPunct="0">
              <a:lnSpc>
                <a:spcPts val="1200"/>
              </a:lnSpc>
              <a:tabLst>
                <a:tab pos="5715000" algn="r"/>
              </a:tabLst>
            </a:pPr>
            <a:r>
              <a:rPr lang="en-US" sz="900" kern="600" dirty="0">
                <a:solidFill>
                  <a:prstClr val="black"/>
                </a:solidFill>
                <a:latin typeface="EYInterstate" panose="02000503020000020004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I, the undersigned, certify that, according to my most sincere knowledge and beliefs, this CV accurately describes me, my qualifications and experience, and I am available to undertake the assignment if selected. I understand that any inaccurate or false statements described herein may result in my disqualification or dismissal by the World Bank.</a:t>
            </a:r>
            <a:endParaRPr lang="en-US" sz="1000" kern="600" dirty="0">
              <a:solidFill>
                <a:prstClr val="black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41098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gZkYHgQWSF9os9HkLG1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xxxseGZEWmjiLEpe5g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NIQRwkRg2wQhbIEoJ_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21738C7-A6AF-462A-9301-9DE74F6FB0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072AA275-1F82-4D88-B0D8-C735203599B6}">
  <ds:schemaRefs>
    <ds:schemaRef ds:uri="http://purl.org/dc/elements/1.1/"/>
    <ds:schemaRef ds:uri="http://www.w3.org/XML/1998/namespace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8B4C8CBB-E142-4148-B5A6-7B89D45E3A5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466</TotalTime>
  <Words>739</Words>
  <Application>Microsoft Office PowerPoint</Application>
  <PresentationFormat>Format A4 (210 x 297 mm)</PresentationFormat>
  <Paragraphs>78</Paragraphs>
  <Slides>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12" baseType="lpstr">
      <vt:lpstr>Arial</vt:lpstr>
      <vt:lpstr>Calibri</vt:lpstr>
      <vt:lpstr>Calibri Light</vt:lpstr>
      <vt:lpstr>EYInterstate</vt:lpstr>
      <vt:lpstr>EYInterstate Light</vt:lpstr>
      <vt:lpstr>Georgia</vt:lpstr>
      <vt:lpstr>Wingdings</vt:lpstr>
      <vt:lpstr>Office Theme</vt:lpstr>
      <vt:lpstr>EY dark background</vt:lpstr>
      <vt:lpstr>Diapositive think-cell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ziz Abdellatif</dc:creator>
  <cp:lastModifiedBy>Siwar Ben Khelifa</cp:lastModifiedBy>
  <cp:revision>377</cp:revision>
  <dcterms:created xsi:type="dcterms:W3CDTF">2021-08-27T11:28:35Z</dcterms:created>
  <dcterms:modified xsi:type="dcterms:W3CDTF">2024-02-12T14:53:23Z</dcterms:modified>
</cp:coreProperties>
</file>